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s/slide47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08" r:id="rId2"/>
  </p:sldMasterIdLst>
  <p:notesMasterIdLst>
    <p:notesMasterId r:id="rId50"/>
  </p:notesMasterIdLst>
  <p:sldIdLst>
    <p:sldId id="271" r:id="rId3"/>
    <p:sldId id="272" r:id="rId4"/>
    <p:sldId id="274" r:id="rId5"/>
    <p:sldId id="328" r:id="rId6"/>
    <p:sldId id="354" r:id="rId7"/>
    <p:sldId id="355" r:id="rId8"/>
    <p:sldId id="329" r:id="rId9"/>
    <p:sldId id="334" r:id="rId10"/>
    <p:sldId id="330" r:id="rId11"/>
    <p:sldId id="331" r:id="rId12"/>
    <p:sldId id="332" r:id="rId13"/>
    <p:sldId id="333" r:id="rId14"/>
    <p:sldId id="358" r:id="rId15"/>
    <p:sldId id="359" r:id="rId16"/>
    <p:sldId id="360" r:id="rId17"/>
    <p:sldId id="335" r:id="rId18"/>
    <p:sldId id="275" r:id="rId19"/>
    <p:sldId id="278" r:id="rId20"/>
    <p:sldId id="356" r:id="rId21"/>
    <p:sldId id="351" r:id="rId22"/>
    <p:sldId id="349" r:id="rId23"/>
    <p:sldId id="277" r:id="rId24"/>
    <p:sldId id="304" r:id="rId25"/>
    <p:sldId id="279" r:id="rId26"/>
    <p:sldId id="337" r:id="rId27"/>
    <p:sldId id="338" r:id="rId28"/>
    <p:sldId id="339" r:id="rId29"/>
    <p:sldId id="361" r:id="rId30"/>
    <p:sldId id="362" r:id="rId31"/>
    <p:sldId id="363" r:id="rId32"/>
    <p:sldId id="340" r:id="rId33"/>
    <p:sldId id="341" r:id="rId34"/>
    <p:sldId id="342" r:id="rId35"/>
    <p:sldId id="343" r:id="rId36"/>
    <p:sldId id="353" r:id="rId37"/>
    <p:sldId id="346" r:id="rId38"/>
    <p:sldId id="352" r:id="rId39"/>
    <p:sldId id="347" r:id="rId40"/>
    <p:sldId id="348" r:id="rId41"/>
    <p:sldId id="288" r:id="rId42"/>
    <p:sldId id="286" r:id="rId43"/>
    <p:sldId id="324" r:id="rId44"/>
    <p:sldId id="295" r:id="rId45"/>
    <p:sldId id="296" r:id="rId46"/>
    <p:sldId id="297" r:id="rId47"/>
    <p:sldId id="298" r:id="rId48"/>
    <p:sldId id="300" r:id="rId49"/>
  </p:sldIdLst>
  <p:sldSz cx="9144000" cy="6858000" type="screen4x3"/>
  <p:notesSz cx="6797675" cy="9928225"/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3522" autoAdjust="0"/>
    <p:restoredTop sz="94660"/>
  </p:normalViewPr>
  <p:slideViewPr>
    <p:cSldViewPr>
      <p:cViewPr>
        <p:scale>
          <a:sx n="40" d="100"/>
          <a:sy n="40" d="100"/>
        </p:scale>
        <p:origin x="-1440" y="-7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A771EC-8462-4A18-B4B5-9CEE1893BD48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4E64E55D-DCAA-4460-89D1-1409BB493399}">
      <dgm:prSet phldrT="[Text]"/>
      <dgm:spPr/>
      <dgm:t>
        <a:bodyPr/>
        <a:lstStyle/>
        <a:p>
          <a:r>
            <a:rPr lang="en-US" dirty="0" err="1" smtClean="0"/>
            <a:t>Visi</a:t>
          </a:r>
          <a:r>
            <a:rPr lang="en-US" dirty="0" smtClean="0"/>
            <a:t> </a:t>
          </a:r>
          <a:r>
            <a:rPr lang="en-US" dirty="0" err="1" smtClean="0"/>
            <a:t>Misi</a:t>
          </a:r>
          <a:r>
            <a:rPr lang="en-US" dirty="0" smtClean="0"/>
            <a:t> </a:t>
          </a:r>
          <a:r>
            <a:rPr lang="en-US" dirty="0" err="1" smtClean="0"/>
            <a:t>Pemerintah</a:t>
          </a:r>
          <a:endParaRPr lang="id-ID" dirty="0"/>
        </a:p>
      </dgm:t>
    </dgm:pt>
    <dgm:pt modelId="{362E5AF4-2F0F-4A2D-9717-CF4A53994519}" type="parTrans" cxnId="{31A97E2A-0D39-4C80-9B7E-67271BCB4DF3}">
      <dgm:prSet/>
      <dgm:spPr/>
      <dgm:t>
        <a:bodyPr/>
        <a:lstStyle/>
        <a:p>
          <a:endParaRPr lang="id-ID"/>
        </a:p>
      </dgm:t>
    </dgm:pt>
    <dgm:pt modelId="{377B2A72-2EF9-486D-B5C9-7CD11D2C78C0}" type="sibTrans" cxnId="{31A97E2A-0D39-4C80-9B7E-67271BCB4DF3}">
      <dgm:prSet/>
      <dgm:spPr/>
      <dgm:t>
        <a:bodyPr/>
        <a:lstStyle/>
        <a:p>
          <a:endParaRPr lang="id-ID"/>
        </a:p>
      </dgm:t>
    </dgm:pt>
    <dgm:pt modelId="{C86D5DEF-7A3D-44EC-B9A1-3F1683477F05}">
      <dgm:prSet phldrT="[Text]"/>
      <dgm:spPr/>
      <dgm:t>
        <a:bodyPr/>
        <a:lstStyle/>
        <a:p>
          <a:r>
            <a:rPr lang="en-US" dirty="0" err="1" smtClean="0"/>
            <a:t>Tusi</a:t>
          </a:r>
          <a:r>
            <a:rPr lang="en-US" dirty="0" smtClean="0"/>
            <a:t> </a:t>
          </a:r>
          <a:r>
            <a:rPr lang="en-US" dirty="0" err="1" smtClean="0"/>
            <a:t>Lembaga</a:t>
          </a:r>
          <a:endParaRPr lang="id-ID" dirty="0"/>
        </a:p>
      </dgm:t>
    </dgm:pt>
    <dgm:pt modelId="{FFDA5604-477F-4585-89A0-846BA2A27E79}" type="parTrans" cxnId="{79008E14-CDF6-47C6-BF13-D71F5492F856}">
      <dgm:prSet/>
      <dgm:spPr/>
      <dgm:t>
        <a:bodyPr/>
        <a:lstStyle/>
        <a:p>
          <a:endParaRPr lang="id-ID"/>
        </a:p>
      </dgm:t>
    </dgm:pt>
    <dgm:pt modelId="{99882610-95F5-4A06-AE3D-5D503E594CCC}" type="sibTrans" cxnId="{79008E14-CDF6-47C6-BF13-D71F5492F856}">
      <dgm:prSet/>
      <dgm:spPr/>
      <dgm:t>
        <a:bodyPr/>
        <a:lstStyle/>
        <a:p>
          <a:endParaRPr lang="id-ID"/>
        </a:p>
      </dgm:t>
    </dgm:pt>
    <dgm:pt modelId="{9BC754B1-701F-4920-9B1B-CAF2995984AF}">
      <dgm:prSet phldrT="[Text]"/>
      <dgm:spPr/>
      <dgm:t>
        <a:bodyPr/>
        <a:lstStyle/>
        <a:p>
          <a:r>
            <a:rPr lang="en-US" dirty="0" err="1" smtClean="0"/>
            <a:t>Tusi</a:t>
          </a:r>
          <a:r>
            <a:rPr lang="en-US" dirty="0" smtClean="0"/>
            <a:t> </a:t>
          </a:r>
          <a:r>
            <a:rPr lang="en-US" dirty="0" err="1" smtClean="0"/>
            <a:t>Jabatan</a:t>
          </a:r>
          <a:r>
            <a:rPr lang="en-US" dirty="0" smtClean="0"/>
            <a:t> </a:t>
          </a:r>
          <a:r>
            <a:rPr lang="en-US" dirty="0" err="1" smtClean="0"/>
            <a:t>Fungsional</a:t>
          </a:r>
          <a:endParaRPr lang="id-ID" dirty="0"/>
        </a:p>
      </dgm:t>
    </dgm:pt>
    <dgm:pt modelId="{F5BB4320-E4BF-4CF7-9EFF-D55FF2C8D16E}" type="parTrans" cxnId="{C6586E01-309C-4517-B24D-CC3EA6107F78}">
      <dgm:prSet/>
      <dgm:spPr/>
      <dgm:t>
        <a:bodyPr/>
        <a:lstStyle/>
        <a:p>
          <a:endParaRPr lang="id-ID"/>
        </a:p>
      </dgm:t>
    </dgm:pt>
    <dgm:pt modelId="{F28171C6-48F7-47F8-B841-EE7B638AF904}" type="sibTrans" cxnId="{C6586E01-309C-4517-B24D-CC3EA6107F78}">
      <dgm:prSet/>
      <dgm:spPr/>
      <dgm:t>
        <a:bodyPr/>
        <a:lstStyle/>
        <a:p>
          <a:endParaRPr lang="id-ID"/>
        </a:p>
      </dgm:t>
    </dgm:pt>
    <dgm:pt modelId="{1D669492-8246-4366-8F83-4E89CE7BF916}" type="pres">
      <dgm:prSet presAssocID="{B3A771EC-8462-4A18-B4B5-9CEE1893BD48}" presName="CompostProcess" presStyleCnt="0">
        <dgm:presLayoutVars>
          <dgm:dir/>
          <dgm:resizeHandles val="exact"/>
        </dgm:presLayoutVars>
      </dgm:prSet>
      <dgm:spPr/>
    </dgm:pt>
    <dgm:pt modelId="{A920F486-7411-4B6F-8670-AA5D4C038BCB}" type="pres">
      <dgm:prSet presAssocID="{B3A771EC-8462-4A18-B4B5-9CEE1893BD48}" presName="arrow" presStyleLbl="bgShp" presStyleIdx="0" presStyleCnt="1"/>
      <dgm:spPr/>
    </dgm:pt>
    <dgm:pt modelId="{8B39E3D2-2418-4422-9238-C7CDA3BD5B04}" type="pres">
      <dgm:prSet presAssocID="{B3A771EC-8462-4A18-B4B5-9CEE1893BD48}" presName="linearProcess" presStyleCnt="0"/>
      <dgm:spPr/>
    </dgm:pt>
    <dgm:pt modelId="{D7643178-A1DB-47EA-B258-6747341DD11E}" type="pres">
      <dgm:prSet presAssocID="{4E64E55D-DCAA-4460-89D1-1409BB493399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4D8904D1-A3FB-412B-926A-67F49EBAECDB}" type="pres">
      <dgm:prSet presAssocID="{377B2A72-2EF9-486D-B5C9-7CD11D2C78C0}" presName="sibTrans" presStyleCnt="0"/>
      <dgm:spPr/>
    </dgm:pt>
    <dgm:pt modelId="{1576309D-BF40-4C5B-A798-9C61DDF73731}" type="pres">
      <dgm:prSet presAssocID="{C86D5DEF-7A3D-44EC-B9A1-3F1683477F05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FB372A67-71D2-49DB-AADB-0EE1165C4CCB}" type="pres">
      <dgm:prSet presAssocID="{99882610-95F5-4A06-AE3D-5D503E594CCC}" presName="sibTrans" presStyleCnt="0"/>
      <dgm:spPr/>
    </dgm:pt>
    <dgm:pt modelId="{F2D7F779-E045-4C9D-9BFF-513295C33D52}" type="pres">
      <dgm:prSet presAssocID="{9BC754B1-701F-4920-9B1B-CAF2995984AF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</dgm:ptLst>
  <dgm:cxnLst>
    <dgm:cxn modelId="{A60D7C71-A41D-423D-A2E0-10A7652C50AE}" type="presOf" srcId="{9BC754B1-701F-4920-9B1B-CAF2995984AF}" destId="{F2D7F779-E045-4C9D-9BFF-513295C33D52}" srcOrd="0" destOrd="0" presId="urn:microsoft.com/office/officeart/2005/8/layout/hProcess9"/>
    <dgm:cxn modelId="{C6586E01-309C-4517-B24D-CC3EA6107F78}" srcId="{B3A771EC-8462-4A18-B4B5-9CEE1893BD48}" destId="{9BC754B1-701F-4920-9B1B-CAF2995984AF}" srcOrd="2" destOrd="0" parTransId="{F5BB4320-E4BF-4CF7-9EFF-D55FF2C8D16E}" sibTransId="{F28171C6-48F7-47F8-B841-EE7B638AF904}"/>
    <dgm:cxn modelId="{79008E14-CDF6-47C6-BF13-D71F5492F856}" srcId="{B3A771EC-8462-4A18-B4B5-9CEE1893BD48}" destId="{C86D5DEF-7A3D-44EC-B9A1-3F1683477F05}" srcOrd="1" destOrd="0" parTransId="{FFDA5604-477F-4585-89A0-846BA2A27E79}" sibTransId="{99882610-95F5-4A06-AE3D-5D503E594CCC}"/>
    <dgm:cxn modelId="{19194D4E-26B9-4F84-9369-6C6BCEBA43C8}" type="presOf" srcId="{C86D5DEF-7A3D-44EC-B9A1-3F1683477F05}" destId="{1576309D-BF40-4C5B-A798-9C61DDF73731}" srcOrd="0" destOrd="0" presId="urn:microsoft.com/office/officeart/2005/8/layout/hProcess9"/>
    <dgm:cxn modelId="{B63714B7-BB98-4285-B347-EC30F9A03863}" type="presOf" srcId="{4E64E55D-DCAA-4460-89D1-1409BB493399}" destId="{D7643178-A1DB-47EA-B258-6747341DD11E}" srcOrd="0" destOrd="0" presId="urn:microsoft.com/office/officeart/2005/8/layout/hProcess9"/>
    <dgm:cxn modelId="{31A97E2A-0D39-4C80-9B7E-67271BCB4DF3}" srcId="{B3A771EC-8462-4A18-B4B5-9CEE1893BD48}" destId="{4E64E55D-DCAA-4460-89D1-1409BB493399}" srcOrd="0" destOrd="0" parTransId="{362E5AF4-2F0F-4A2D-9717-CF4A53994519}" sibTransId="{377B2A72-2EF9-486D-B5C9-7CD11D2C78C0}"/>
    <dgm:cxn modelId="{C9F1E5E2-EAE9-4BD8-8CB6-5989827F1955}" type="presOf" srcId="{B3A771EC-8462-4A18-B4B5-9CEE1893BD48}" destId="{1D669492-8246-4366-8F83-4E89CE7BF916}" srcOrd="0" destOrd="0" presId="urn:microsoft.com/office/officeart/2005/8/layout/hProcess9"/>
    <dgm:cxn modelId="{32557EDA-984D-43E5-B706-A42324495F68}" type="presParOf" srcId="{1D669492-8246-4366-8F83-4E89CE7BF916}" destId="{A920F486-7411-4B6F-8670-AA5D4C038BCB}" srcOrd="0" destOrd="0" presId="urn:microsoft.com/office/officeart/2005/8/layout/hProcess9"/>
    <dgm:cxn modelId="{A79CB30E-4C23-43C2-9577-7C7373525445}" type="presParOf" srcId="{1D669492-8246-4366-8F83-4E89CE7BF916}" destId="{8B39E3D2-2418-4422-9238-C7CDA3BD5B04}" srcOrd="1" destOrd="0" presId="urn:microsoft.com/office/officeart/2005/8/layout/hProcess9"/>
    <dgm:cxn modelId="{ACE08046-30A6-46FD-ABFC-BE53DF957F01}" type="presParOf" srcId="{8B39E3D2-2418-4422-9238-C7CDA3BD5B04}" destId="{D7643178-A1DB-47EA-B258-6747341DD11E}" srcOrd="0" destOrd="0" presId="urn:microsoft.com/office/officeart/2005/8/layout/hProcess9"/>
    <dgm:cxn modelId="{1F137A8F-6CA6-41FB-9AB3-AAD2FC1B6B86}" type="presParOf" srcId="{8B39E3D2-2418-4422-9238-C7CDA3BD5B04}" destId="{4D8904D1-A3FB-412B-926A-67F49EBAECDB}" srcOrd="1" destOrd="0" presId="urn:microsoft.com/office/officeart/2005/8/layout/hProcess9"/>
    <dgm:cxn modelId="{B7C6D349-B3F6-428C-A906-1E3C3390F1B6}" type="presParOf" srcId="{8B39E3D2-2418-4422-9238-C7CDA3BD5B04}" destId="{1576309D-BF40-4C5B-A798-9C61DDF73731}" srcOrd="2" destOrd="0" presId="urn:microsoft.com/office/officeart/2005/8/layout/hProcess9"/>
    <dgm:cxn modelId="{3873D712-8ACA-4596-A22D-463B5C57E1F4}" type="presParOf" srcId="{8B39E3D2-2418-4422-9238-C7CDA3BD5B04}" destId="{FB372A67-71D2-49DB-AADB-0EE1165C4CCB}" srcOrd="3" destOrd="0" presId="urn:microsoft.com/office/officeart/2005/8/layout/hProcess9"/>
    <dgm:cxn modelId="{9F1E94DE-D80A-4B90-9DFC-5805EC91AA9F}" type="presParOf" srcId="{8B39E3D2-2418-4422-9238-C7CDA3BD5B04}" destId="{F2D7F779-E045-4C9D-9BFF-513295C33D52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20F486-7411-4B6F-8670-AA5D4C038BCB}">
      <dsp:nvSpPr>
        <dsp:cNvPr id="0" name=""/>
        <dsp:cNvSpPr/>
      </dsp:nvSpPr>
      <dsp:spPr>
        <a:xfrm>
          <a:off x="617219" y="0"/>
          <a:ext cx="6995160" cy="452596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643178-A1DB-47EA-B258-6747341DD11E}">
      <dsp:nvSpPr>
        <dsp:cNvPr id="0" name=""/>
        <dsp:cNvSpPr/>
      </dsp:nvSpPr>
      <dsp:spPr>
        <a:xfrm>
          <a:off x="8840" y="1357788"/>
          <a:ext cx="2648902" cy="18103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err="1" smtClean="0"/>
            <a:t>Visi</a:t>
          </a:r>
          <a:r>
            <a:rPr lang="en-US" sz="3200" kern="1200" dirty="0" smtClean="0"/>
            <a:t> </a:t>
          </a:r>
          <a:r>
            <a:rPr lang="en-US" sz="3200" kern="1200" dirty="0" err="1" smtClean="0"/>
            <a:t>Misi</a:t>
          </a:r>
          <a:r>
            <a:rPr lang="en-US" sz="3200" kern="1200" dirty="0" smtClean="0"/>
            <a:t> </a:t>
          </a:r>
          <a:r>
            <a:rPr lang="en-US" sz="3200" kern="1200" dirty="0" err="1" smtClean="0"/>
            <a:t>Pemerintah</a:t>
          </a:r>
          <a:endParaRPr lang="id-ID" sz="3200" kern="1200" dirty="0"/>
        </a:p>
      </dsp:txBody>
      <dsp:txXfrm>
        <a:off x="97216" y="1446164"/>
        <a:ext cx="2472150" cy="1633633"/>
      </dsp:txXfrm>
    </dsp:sp>
    <dsp:sp modelId="{1576309D-BF40-4C5B-A798-9C61DDF73731}">
      <dsp:nvSpPr>
        <dsp:cNvPr id="0" name=""/>
        <dsp:cNvSpPr/>
      </dsp:nvSpPr>
      <dsp:spPr>
        <a:xfrm>
          <a:off x="2790348" y="1357788"/>
          <a:ext cx="2648902" cy="18103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err="1" smtClean="0"/>
            <a:t>Tusi</a:t>
          </a:r>
          <a:r>
            <a:rPr lang="en-US" sz="3200" kern="1200" dirty="0" smtClean="0"/>
            <a:t> </a:t>
          </a:r>
          <a:r>
            <a:rPr lang="en-US" sz="3200" kern="1200" dirty="0" err="1" smtClean="0"/>
            <a:t>Lembaga</a:t>
          </a:r>
          <a:endParaRPr lang="id-ID" sz="3200" kern="1200" dirty="0"/>
        </a:p>
      </dsp:txBody>
      <dsp:txXfrm>
        <a:off x="2878724" y="1446164"/>
        <a:ext cx="2472150" cy="1633633"/>
      </dsp:txXfrm>
    </dsp:sp>
    <dsp:sp modelId="{F2D7F779-E045-4C9D-9BFF-513295C33D52}">
      <dsp:nvSpPr>
        <dsp:cNvPr id="0" name=""/>
        <dsp:cNvSpPr/>
      </dsp:nvSpPr>
      <dsp:spPr>
        <a:xfrm>
          <a:off x="5571857" y="1357788"/>
          <a:ext cx="2648902" cy="18103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err="1" smtClean="0"/>
            <a:t>Tusi</a:t>
          </a:r>
          <a:r>
            <a:rPr lang="en-US" sz="3200" kern="1200" dirty="0" smtClean="0"/>
            <a:t> </a:t>
          </a:r>
          <a:r>
            <a:rPr lang="en-US" sz="3200" kern="1200" dirty="0" err="1" smtClean="0"/>
            <a:t>Jabatan</a:t>
          </a:r>
          <a:r>
            <a:rPr lang="en-US" sz="3200" kern="1200" dirty="0" smtClean="0"/>
            <a:t> </a:t>
          </a:r>
          <a:r>
            <a:rPr lang="en-US" sz="3200" kern="1200" dirty="0" err="1" smtClean="0"/>
            <a:t>Fungsional</a:t>
          </a:r>
          <a:endParaRPr lang="id-ID" sz="3200" kern="1200" dirty="0"/>
        </a:p>
      </dsp:txBody>
      <dsp:txXfrm>
        <a:off x="5660233" y="1446164"/>
        <a:ext cx="2472150" cy="16336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43AB6B-2C70-42A6-98D7-21BC6255004E}" type="datetimeFigureOut">
              <a:rPr lang="en-US" smtClean="0"/>
              <a:pPr/>
              <a:t>10/2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932C6F-A241-416F-AD5A-8909F3669C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891115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8704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  <a:p>
            <a:r>
              <a:rPr lang="en-US" dirty="0" smtClean="0"/>
              <a:t>----- Meeting Notes (8/22/13 14:05) -----</a:t>
            </a:r>
          </a:p>
          <a:p>
            <a:r>
              <a:rPr lang="en-US" dirty="0" smtClean="0"/>
              <a:t>1. Rule base: </a:t>
            </a:r>
          </a:p>
          <a:p>
            <a:r>
              <a:rPr lang="en-US" dirty="0" smtClean="0"/>
              <a:t>activity base</a:t>
            </a:r>
          </a:p>
          <a:p>
            <a:endParaRPr lang="en-US" dirty="0" smtClean="0"/>
          </a:p>
          <a:p>
            <a:r>
              <a:rPr lang="en-US" dirty="0" smtClean="0"/>
              <a:t>2. Performance:</a:t>
            </a:r>
          </a:p>
          <a:p>
            <a:r>
              <a:rPr lang="en-US" dirty="0" smtClean="0"/>
              <a:t>Output base, outcome base</a:t>
            </a:r>
          </a:p>
          <a:p>
            <a:endParaRPr lang="en-US" dirty="0" smtClean="0"/>
          </a:p>
          <a:p>
            <a:r>
              <a:rPr lang="en-US" dirty="0" smtClean="0"/>
              <a:t>3. Dynamic:</a:t>
            </a:r>
          </a:p>
          <a:p>
            <a:r>
              <a:rPr lang="en-US" dirty="0" err="1" smtClean="0"/>
              <a:t>Sensitif</a:t>
            </a:r>
            <a:r>
              <a:rPr lang="en-US" dirty="0" smtClean="0"/>
              <a:t> </a:t>
            </a:r>
            <a:r>
              <a:rPr lang="en-US" dirty="0" err="1" smtClean="0"/>
              <a:t>dengan</a:t>
            </a:r>
            <a:r>
              <a:rPr lang="en-US" dirty="0" smtClean="0"/>
              <a:t> </a:t>
            </a:r>
            <a:r>
              <a:rPr lang="en-US" dirty="0" err="1" smtClean="0"/>
              <a:t>perubahan</a:t>
            </a:r>
            <a:r>
              <a:rPr lang="en-US" dirty="0" smtClean="0"/>
              <a:t> </a:t>
            </a:r>
            <a:r>
              <a:rPr lang="en-US" dirty="0" err="1" smtClean="0"/>
              <a:t>lingkungan</a:t>
            </a:r>
            <a:r>
              <a:rPr lang="en-US" dirty="0" smtClean="0"/>
              <a:t>, </a:t>
            </a:r>
            <a:r>
              <a:rPr lang="en-US" dirty="0" err="1" smtClean="0"/>
              <a:t>memiliki</a:t>
            </a:r>
            <a:r>
              <a:rPr lang="en-US" dirty="0" smtClean="0"/>
              <a:t> </a:t>
            </a:r>
            <a:r>
              <a:rPr lang="en-US" dirty="0" err="1" smtClean="0"/>
              <a:t>pemikiran</a:t>
            </a:r>
            <a:r>
              <a:rPr lang="en-US" dirty="0" smtClean="0"/>
              <a:t> 10th</a:t>
            </a:r>
          </a:p>
          <a:p>
            <a:endParaRPr lang="en-US" dirty="0" smtClean="0"/>
          </a:p>
          <a:p>
            <a:r>
              <a:rPr lang="en-US" dirty="0" smtClean="0"/>
              <a:t>capability, </a:t>
            </a:r>
          </a:p>
          <a:p>
            <a:r>
              <a:rPr lang="en-US" dirty="0" smtClean="0"/>
              <a:t>thinking ahead, thinking cross, thinking again</a:t>
            </a:r>
          </a:p>
        </p:txBody>
      </p:sp>
      <p:sp>
        <p:nvSpPr>
          <p:cNvPr id="8704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31731" indent="-281435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25741" indent="-225148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576037" indent="-225148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26333" indent="-225148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476630" indent="-22514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26926" indent="-22514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377222" indent="-22514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27518" indent="-22514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fld id="{2A5DA96A-A641-4059-856A-B5ADDEDF424A}" type="slidenum">
              <a:rPr lang="en-US" sz="1200"/>
              <a:pPr eaLnBrk="1" hangingPunct="1"/>
              <a:t>20</a:t>
            </a:fld>
            <a:endParaRPr lang="en-US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13DB54-FBA9-42AC-8165-5F877921E85B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38187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0E37B5-B979-4E0C-9F04-F18BF250B89C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15660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id-ID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 sz="1800"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C34073-57F6-41BB-8F88-A0CCF11633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17657536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23794801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20320648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18192863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11744427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33549428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20990593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2882864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16299301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5373610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3204628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11544045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20" r:id="rId12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D143BE-A196-4EBE-A8E8-B403772A4488}" type="datetimeFigureOut">
              <a:rPr lang="id-ID" smtClean="0"/>
              <a:pPr/>
              <a:t>26/10/2016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24F942-EFFA-4BC5-A2FC-5BCD683444B4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3166420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hyperlink" Target="http://www.google.com/url?sa=i&amp;rct=j&amp;q=&amp;esrc=s&amp;frm=1&amp;source=images&amp;cd=&amp;cad=rja&amp;docid=efxqg7Kyh7ondM&amp;tbnid=zCkKFzowY_Oe_M:&amp;ved=0CAUQjRw&amp;url=http://dprd.batangharikab.go.id/&amp;ei=LpDTUoWQEceWiAebn4GYCA&amp;bvm=bv.59026428,d.aGc&amp;psig=AFQjCNGfLXPE5iM24bEBIWXRcZrU8Uu_Uw&amp;ust=1389683082263570" TargetMode="Externa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hyperlink" Target="http://www.google.com/url?sa=i&amp;rct=j&amp;q=&amp;esrc=s&amp;frm=1&amp;source=images&amp;cd=&amp;cad=rja&amp;docid=KDd0vJ71D1fMKM&amp;tbnid=3BEpWLuB8168lM:&amp;ved=0CAUQjRw&amp;url=http://askep-net.blogspot.com/2013/10/kesejahteraan-pns-melalui-ruu-asn.html&amp;ei=5AXSUreyFYTsiAe_kYHYCQ&amp;bvm=bv.59026428,d.aGc&amp;psig=AFQjCNGwRJ6OZAHOIZpnkdPhAhzE1SfaUg&amp;ust=1389582156849760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hyperlink" Target="http://www.google.com/url?sa=i&amp;rct=j&amp;q=&amp;esrc=s&amp;frm=1&amp;source=images&amp;cd=&amp;cad=rja&amp;docid=4lJmsaoag3qsgM&amp;tbnid=_QOlkrhWP9PeFM:&amp;ved=0CAUQjRw&amp;url=http://wartakutim.hol.es/2013/11/semarakan-tahun-baru-islam-di-ma-ancalong/&amp;ei=gXXcUqDND4mIrgeenIGQCQ&amp;bvm=bv.59568121,d.bmk&amp;psig=AFQjCNH8L5TNENmyGJTfPDBcpNS8_D1eGg&amp;ust=1390266086769333" TargetMode="Externa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hyperlink" Target="http://www.google.com/url?sa=i&amp;rct=j&amp;q=&amp;esrc=s&amp;frm=1&amp;source=images&amp;cd=&amp;cad=rja&amp;docid=UUcnC0RaVJ9niM&amp;tbnid=jICpJeET8uk3XM:&amp;ved=0CAUQjRw&amp;url=http://edukasi.kompasiana.com/2013/11/06/sistem-informasi-608322.html&amp;ei=zuHXUpjfG8qWiQeSqIA4&amp;bvm=bv.59568121,d.aGc&amp;psig=AFQjCNGM3N-5ruHYQeexdMM8NMGBjcT8wg&amp;ust=1389966144427868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5405887"/>
            <a:ext cx="9144000" cy="11395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0"/>
            <a:ext cx="9144000" cy="394663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2924945"/>
            <a:ext cx="9144000" cy="2284168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 smtClean="0"/>
              <a:t>PERAN PEJABAT FUNGSIONAL DALAM</a:t>
            </a:r>
          </a:p>
          <a:p>
            <a:pPr algn="ctr"/>
            <a:r>
              <a:rPr lang="en-US" sz="4000" b="1" dirty="0" smtClean="0"/>
              <a:t>PEMBANGUNAN</a:t>
            </a:r>
            <a:endParaRPr lang="id-ID" sz="4000" b="1" dirty="0" smtClean="0"/>
          </a:p>
          <a:p>
            <a:pPr algn="ctr"/>
            <a:endParaRPr lang="id-ID" dirty="0" smtClean="0"/>
          </a:p>
          <a:p>
            <a:pPr algn="ctr"/>
            <a:r>
              <a:rPr lang="en-US" dirty="0" smtClean="0"/>
              <a:t>Ra</a:t>
            </a:r>
            <a:r>
              <a:rPr lang="id-ID" dirty="0" smtClean="0"/>
              <a:t>pat K</a:t>
            </a:r>
            <a:r>
              <a:rPr lang="en-US" dirty="0" smtClean="0"/>
              <a:t>o</a:t>
            </a:r>
            <a:r>
              <a:rPr lang="id-ID" dirty="0" smtClean="0"/>
              <a:t>o</a:t>
            </a:r>
            <a:r>
              <a:rPr lang="en-US" dirty="0" smtClean="0"/>
              <a:t>r</a:t>
            </a:r>
            <a:r>
              <a:rPr lang="id-ID" smtClean="0"/>
              <a:t>dinasi</a:t>
            </a:r>
            <a:r>
              <a:rPr lang="en-US" smtClean="0"/>
              <a:t> </a:t>
            </a:r>
            <a:r>
              <a:rPr lang="en-US" dirty="0" err="1" smtClean="0"/>
              <a:t>Jabatan</a:t>
            </a:r>
            <a:r>
              <a:rPr lang="en-US" dirty="0" smtClean="0"/>
              <a:t> </a:t>
            </a:r>
            <a:r>
              <a:rPr lang="en-US" dirty="0" err="1" smtClean="0"/>
              <a:t>Fungsional</a:t>
            </a:r>
            <a:r>
              <a:rPr lang="en-US" dirty="0" smtClean="0"/>
              <a:t> </a:t>
            </a:r>
            <a:r>
              <a:rPr lang="en-US" dirty="0" err="1" smtClean="0"/>
              <a:t>Pengawas</a:t>
            </a:r>
            <a:r>
              <a:rPr lang="en-US" dirty="0" smtClean="0"/>
              <a:t> </a:t>
            </a:r>
            <a:r>
              <a:rPr lang="en-US" dirty="0" err="1" smtClean="0"/>
              <a:t>Radiasi</a:t>
            </a:r>
            <a:endParaRPr lang="en-US" dirty="0" smtClean="0"/>
          </a:p>
          <a:p>
            <a:pPr algn="ctr"/>
            <a:r>
              <a:rPr lang="id-ID" dirty="0" smtClean="0"/>
              <a:t>J</a:t>
            </a:r>
            <a:r>
              <a:rPr lang="en-US" dirty="0" err="1" smtClean="0"/>
              <a:t>akarta</a:t>
            </a:r>
            <a:r>
              <a:rPr lang="id-ID" dirty="0" smtClean="0"/>
              <a:t>, </a:t>
            </a:r>
            <a:r>
              <a:rPr lang="en-US" dirty="0" smtClean="0"/>
              <a:t>26</a:t>
            </a:r>
            <a:r>
              <a:rPr lang="id-ID" dirty="0" smtClean="0"/>
              <a:t> Oktober 2016</a:t>
            </a:r>
            <a:endParaRPr lang="id-ID" dirty="0"/>
          </a:p>
        </p:txBody>
      </p:sp>
      <p:sp>
        <p:nvSpPr>
          <p:cNvPr id="7" name="TextBox 10"/>
          <p:cNvSpPr txBox="1">
            <a:spLocks noChangeArrowheads="1"/>
          </p:cNvSpPr>
          <p:nvPr/>
        </p:nvSpPr>
        <p:spPr bwMode="auto">
          <a:xfrm>
            <a:off x="107505" y="5445224"/>
            <a:ext cx="888637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id-ID" sz="2400" b="1" smtClean="0"/>
              <a:t>Ir. Adi Junjunan Mustafa, MSc.</a:t>
            </a:r>
          </a:p>
          <a:p>
            <a:pPr algn="ctr">
              <a:spcBef>
                <a:spcPct val="0"/>
              </a:spcBef>
              <a:buNone/>
            </a:pPr>
            <a:r>
              <a:rPr lang="id-ID" sz="2000" smtClean="0"/>
              <a:t>Plt. Sekretaris Deputi SDM Aparatur</a:t>
            </a:r>
          </a:p>
          <a:p>
            <a:pPr algn="ctr">
              <a:spcBef>
                <a:spcPct val="0"/>
              </a:spcBef>
              <a:buNone/>
            </a:pPr>
            <a:r>
              <a:rPr lang="id-ID" sz="2000" smtClean="0"/>
              <a:t>Kementerian Pendayagunaan Aparatur Negara dan  Reformasi Birokrasi</a:t>
            </a:r>
            <a:endParaRPr lang="id-ID" sz="2000"/>
          </a:p>
        </p:txBody>
      </p:sp>
      <p:sp>
        <p:nvSpPr>
          <p:cNvPr id="2" name="TextBox 1"/>
          <p:cNvSpPr txBox="1"/>
          <p:nvPr/>
        </p:nvSpPr>
        <p:spPr>
          <a:xfrm>
            <a:off x="3657600" y="362287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d-ID"/>
          </a:p>
        </p:txBody>
      </p:sp>
      <p:pic>
        <p:nvPicPr>
          <p:cNvPr id="9" name="Picture 3" descr="Logo Kemenpan2.png"/>
          <p:cNvPicPr>
            <a:picLocks noChangeAspect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688120" y="404664"/>
            <a:ext cx="1512168" cy="211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312984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1124744"/>
            <a:ext cx="9144000" cy="4979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059832" y="5544942"/>
            <a:ext cx="5328592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179512" y="260648"/>
            <a:ext cx="4717032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251520" y="5661248"/>
            <a:ext cx="2592288" cy="717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752528" y="302213"/>
            <a:ext cx="4355976" cy="9362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5"/>
          <p:cNvGrpSpPr/>
          <p:nvPr/>
        </p:nvGrpSpPr>
        <p:grpSpPr>
          <a:xfrm>
            <a:off x="251520" y="2276872"/>
            <a:ext cx="2952328" cy="2736304"/>
            <a:chOff x="251520" y="2276872"/>
            <a:chExt cx="2952328" cy="2736304"/>
          </a:xfrm>
        </p:grpSpPr>
        <p:sp>
          <p:nvSpPr>
            <p:cNvPr id="21" name="Rectangle 20"/>
            <p:cNvSpPr/>
            <p:nvPr/>
          </p:nvSpPr>
          <p:spPr>
            <a:xfrm>
              <a:off x="251520" y="2276872"/>
              <a:ext cx="2952328" cy="273630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pic>
          <p:nvPicPr>
            <p:cNvPr id="13" name="Picture 9"/>
            <p:cNvPicPr>
              <a:picLocks noChangeAspect="1" noChangeArrowheads="1"/>
            </p:cNvPicPr>
            <p:nvPr/>
          </p:nvPicPr>
          <p:blipFill>
            <a:blip r:embed="rId7" cstate="email"/>
            <a:srcRect/>
            <a:stretch>
              <a:fillRect/>
            </a:stretch>
          </p:blipFill>
          <p:spPr bwMode="auto">
            <a:xfrm>
              <a:off x="395536" y="2420888"/>
              <a:ext cx="2736304" cy="2726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9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395534" y="2780928"/>
              <a:ext cx="2736306" cy="2688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" name="Picture 9"/>
            <p:cNvPicPr>
              <a:picLocks noChangeAspect="1" noChangeArrowheads="1"/>
            </p:cNvPicPr>
            <p:nvPr/>
          </p:nvPicPr>
          <p:blipFill>
            <a:blip r:embed="rId9" cstate="email"/>
            <a:srcRect/>
            <a:stretch>
              <a:fillRect/>
            </a:stretch>
          </p:blipFill>
          <p:spPr bwMode="auto">
            <a:xfrm>
              <a:off x="395536" y="3140968"/>
              <a:ext cx="2736304" cy="2524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54" name="Picture 10"/>
            <p:cNvPicPr>
              <a:picLocks noChangeAspect="1" noChangeArrowheads="1"/>
            </p:cNvPicPr>
            <p:nvPr/>
          </p:nvPicPr>
          <p:blipFill>
            <a:blip r:embed="rId10" cstate="email"/>
            <a:srcRect/>
            <a:stretch>
              <a:fillRect/>
            </a:stretch>
          </p:blipFill>
          <p:spPr bwMode="auto">
            <a:xfrm>
              <a:off x="395535" y="3501008"/>
              <a:ext cx="2736305" cy="216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55" name="Picture 11"/>
            <p:cNvPicPr>
              <a:picLocks noChangeAspect="1" noChangeArrowheads="1"/>
            </p:cNvPicPr>
            <p:nvPr/>
          </p:nvPicPr>
          <p:blipFill>
            <a:blip r:embed="rId11" cstate="email"/>
            <a:srcRect/>
            <a:stretch>
              <a:fillRect/>
            </a:stretch>
          </p:blipFill>
          <p:spPr bwMode="auto">
            <a:xfrm>
              <a:off x="386910" y="3823544"/>
              <a:ext cx="2736304" cy="2524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56" name="Picture 12"/>
            <p:cNvPicPr>
              <a:picLocks noChangeAspect="1" noChangeArrowheads="1"/>
            </p:cNvPicPr>
            <p:nvPr/>
          </p:nvPicPr>
          <p:blipFill>
            <a:blip r:embed="rId12" cstate="email"/>
            <a:srcRect/>
            <a:stretch>
              <a:fillRect/>
            </a:stretch>
          </p:blipFill>
          <p:spPr bwMode="auto">
            <a:xfrm>
              <a:off x="383660" y="4162935"/>
              <a:ext cx="2700303" cy="274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57" name="Picture 13"/>
            <p:cNvPicPr>
              <a:picLocks noChangeAspect="1" noChangeArrowheads="1"/>
            </p:cNvPicPr>
            <p:nvPr/>
          </p:nvPicPr>
          <p:blipFill>
            <a:blip r:embed="rId13" cstate="email"/>
            <a:srcRect/>
            <a:stretch>
              <a:fillRect/>
            </a:stretch>
          </p:blipFill>
          <p:spPr bwMode="auto">
            <a:xfrm>
              <a:off x="382901" y="4536406"/>
              <a:ext cx="2748939" cy="292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xmlns="" val="42630035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685482"/>
          </a:xfrm>
        </p:spPr>
        <p:txBody>
          <a:bodyPr>
            <a:normAutofit/>
          </a:bodyPr>
          <a:lstStyle/>
          <a:p>
            <a:r>
              <a:rPr lang="id-ID" sz="3600" b="1" smtClean="0"/>
              <a:t>Sekilas Status PNS</a:t>
            </a:r>
            <a:endParaRPr lang="id-ID" sz="3600" b="1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35197370"/>
              </p:ext>
            </p:extLst>
          </p:nvPr>
        </p:nvGraphicFramePr>
        <p:xfrm>
          <a:off x="323528" y="1065518"/>
          <a:ext cx="8534400" cy="52438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67000"/>
                <a:gridCol w="3048000"/>
                <a:gridCol w="2819400"/>
              </a:tblGrid>
              <a:tr h="1793890">
                <a:tc>
                  <a:txBody>
                    <a:bodyPr/>
                    <a:lstStyle/>
                    <a:p>
                      <a:pPr algn="ctr"/>
                      <a:r>
                        <a:rPr lang="id-ID" sz="4800" noProof="0" smtClean="0">
                          <a:latin typeface="Berlin Sans FB Demi" pitchFamily="34" charset="0"/>
                        </a:rPr>
                        <a:t>3,89%</a:t>
                      </a:r>
                    </a:p>
                    <a:p>
                      <a:pPr algn="ctr"/>
                      <a:r>
                        <a:rPr lang="id-ID" sz="1900" noProof="0" smtClean="0"/>
                        <a:t>PNS terhadap Angkatan Kerja</a:t>
                      </a:r>
                    </a:p>
                    <a:p>
                      <a:pPr algn="ctr"/>
                      <a:r>
                        <a:rPr lang="id-ID" sz="1900" noProof="0" smtClean="0"/>
                        <a:t>(118,19 juta)</a:t>
                      </a:r>
                      <a:endParaRPr lang="id-ID" sz="1900" noProof="0"/>
                    </a:p>
                  </a:txBody>
                  <a:tcPr marT="54864" marB="548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4400" noProof="0" smtClean="0">
                          <a:latin typeface="Berlin Sans FB Demi" pitchFamily="34" charset="0"/>
                        </a:rPr>
                        <a:t>4.475.315</a:t>
                      </a:r>
                    </a:p>
                    <a:p>
                      <a:pPr algn="ctr"/>
                      <a:r>
                        <a:rPr lang="id-ID" sz="1900" noProof="0" smtClean="0"/>
                        <a:t>Jumlah PNS per Juni 2016</a:t>
                      </a:r>
                    </a:p>
                  </a:txBody>
                  <a:tcPr marT="54864" marB="54864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200" noProof="0" smtClean="0"/>
                        <a:t>PNS Pusat  : </a:t>
                      </a:r>
                      <a:r>
                        <a:rPr lang="id-ID" sz="3400" noProof="0" smtClean="0">
                          <a:latin typeface="Berlin Sans FB Demi" pitchFamily="34" charset="0"/>
                        </a:rPr>
                        <a:t>21,04%</a:t>
                      </a:r>
                      <a:endParaRPr lang="id-ID" sz="2200" noProof="0" smtClean="0">
                        <a:latin typeface="Berlin Sans FB Demi" pitchFamily="34" charset="0"/>
                      </a:endParaRPr>
                    </a:p>
                    <a:p>
                      <a:pPr algn="ctr"/>
                      <a:r>
                        <a:rPr lang="id-ID" sz="2200" noProof="0" smtClean="0"/>
                        <a:t>PNS Daerah : </a:t>
                      </a:r>
                      <a:r>
                        <a:rPr lang="id-ID" sz="3400" noProof="0" smtClean="0">
                          <a:latin typeface="Berlin Sans FB Demi" pitchFamily="34" charset="0"/>
                        </a:rPr>
                        <a:t>78,96%</a:t>
                      </a:r>
                      <a:endParaRPr lang="id-ID" sz="2200" noProof="0">
                        <a:latin typeface="Berlin Sans FB Demi" pitchFamily="34" charset="0"/>
                      </a:endParaRPr>
                    </a:p>
                  </a:txBody>
                  <a:tcPr marT="54864" marB="54864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2110458">
                <a:tc>
                  <a:txBody>
                    <a:bodyPr/>
                    <a:lstStyle/>
                    <a:p>
                      <a:pPr algn="ctr"/>
                      <a:r>
                        <a:rPr lang="id-ID" sz="4000" noProof="0" smtClean="0">
                          <a:latin typeface="Berlin Sans FB Demi" pitchFamily="34" charset="0"/>
                        </a:rPr>
                        <a:t>-0,312%</a:t>
                      </a:r>
                    </a:p>
                    <a:p>
                      <a:pPr algn="ctr"/>
                      <a:r>
                        <a:rPr lang="id-ID" sz="2200" noProof="0" smtClean="0"/>
                        <a:t>Rata-rata pertumbuhan pertahun</a:t>
                      </a:r>
                      <a:r>
                        <a:rPr lang="id-ID" sz="2200" baseline="0" noProof="0" smtClean="0"/>
                        <a:t> 2010-2015</a:t>
                      </a:r>
                      <a:endParaRPr lang="id-ID" sz="2200" noProof="0" smtClean="0"/>
                    </a:p>
                    <a:p>
                      <a:endParaRPr lang="id-ID" sz="2200" noProof="0"/>
                    </a:p>
                  </a:txBody>
                  <a:tcPr marT="54864" marB="548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id-ID" sz="4300" noProof="0" smtClean="0">
                          <a:latin typeface="Berlin Sans FB Demi" pitchFamily="34" charset="0"/>
                        </a:rPr>
                        <a:t>42</a:t>
                      </a:r>
                      <a:r>
                        <a:rPr lang="id-ID" sz="4300" baseline="0" noProof="0" smtClean="0">
                          <a:latin typeface="Berlin Sans FB Demi" pitchFamily="34" charset="0"/>
                        </a:rPr>
                        <a:t> tahun</a:t>
                      </a:r>
                    </a:p>
                    <a:p>
                      <a:pPr algn="ctr"/>
                      <a:r>
                        <a:rPr lang="id-ID" sz="1900" baseline="0" noProof="0" smtClean="0"/>
                        <a:t>Median </a:t>
                      </a:r>
                    </a:p>
                    <a:p>
                      <a:pPr algn="ctr"/>
                      <a:r>
                        <a:rPr lang="id-ID" sz="4300" baseline="0" noProof="0" smtClean="0">
                          <a:latin typeface="Berlin Sans FB Demi" pitchFamily="34" charset="0"/>
                        </a:rPr>
                        <a:t>51 tahun</a:t>
                      </a:r>
                    </a:p>
                    <a:p>
                      <a:pPr algn="ctr"/>
                      <a:r>
                        <a:rPr lang="id-ID" sz="1900" baseline="0" noProof="0" smtClean="0"/>
                        <a:t>Modus </a:t>
                      </a:r>
                      <a:endParaRPr lang="id-ID" sz="2200" noProof="0"/>
                    </a:p>
                  </a:txBody>
                  <a:tcPr marT="54864" marB="54864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id-ID" sz="1900" noProof="0" smtClean="0"/>
                        <a:t>Tingkat</a:t>
                      </a:r>
                      <a:r>
                        <a:rPr lang="id-ID" sz="1900" baseline="0" noProof="0" smtClean="0"/>
                        <a:t> Pertumbuhan Rata-rata pertahun</a:t>
                      </a:r>
                    </a:p>
                    <a:p>
                      <a:pPr algn="ctr"/>
                      <a:r>
                        <a:rPr lang="id-ID" sz="2400" baseline="0" noProof="0" smtClean="0"/>
                        <a:t>Guru: </a:t>
                      </a:r>
                      <a:r>
                        <a:rPr lang="id-ID" sz="3400" baseline="0" noProof="0" smtClean="0">
                          <a:latin typeface="Berlin Sans FB Demi" pitchFamily="34" charset="0"/>
                        </a:rPr>
                        <a:t>0,28%</a:t>
                      </a:r>
                      <a:endParaRPr lang="id-ID" sz="2400" baseline="0" noProof="0" smtClean="0">
                        <a:latin typeface="Berlin Sans FB Demi" pitchFamily="34" charset="0"/>
                      </a:endParaRPr>
                    </a:p>
                    <a:p>
                      <a:pPr algn="ctr"/>
                      <a:r>
                        <a:rPr lang="id-ID" sz="2400" baseline="0" noProof="0" smtClean="0"/>
                        <a:t>Dokter : </a:t>
                      </a:r>
                      <a:r>
                        <a:rPr lang="id-ID" sz="3400" kern="1200" baseline="0" noProof="0" smtClean="0">
                          <a:latin typeface="Berlin Sans FB Demi" pitchFamily="34" charset="0"/>
                        </a:rPr>
                        <a:t>2,28%</a:t>
                      </a:r>
                    </a:p>
                    <a:p>
                      <a:pPr algn="ctr"/>
                      <a:r>
                        <a:rPr lang="id-ID" sz="2400" baseline="0" noProof="0" smtClean="0"/>
                        <a:t>Paramedis : </a:t>
                      </a:r>
                      <a:r>
                        <a:rPr lang="id-ID" sz="3400" b="1" kern="1200" baseline="0" noProof="0" smtClean="0">
                          <a:latin typeface="Berlin Sans FB Demi" pitchFamily="34" charset="0"/>
                        </a:rPr>
                        <a:t>7,70%</a:t>
                      </a:r>
                      <a:endParaRPr lang="id-ID" sz="3400" b="1" kern="1200" baseline="0" noProof="0">
                        <a:solidFill>
                          <a:schemeClr val="accent3">
                            <a:lumMod val="50000"/>
                          </a:schemeClr>
                        </a:solidFill>
                        <a:latin typeface="Berlin Sans FB Demi" pitchFamily="34" charset="0"/>
                        <a:ea typeface="+mn-ea"/>
                        <a:cs typeface="+mn-cs"/>
                      </a:endParaRPr>
                    </a:p>
                  </a:txBody>
                  <a:tcPr marT="54864" marB="54864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01892">
                <a:tc rowSpan="2">
                  <a:txBody>
                    <a:bodyPr/>
                    <a:lstStyle/>
                    <a:p>
                      <a:pPr algn="ctr">
                        <a:tabLst>
                          <a:tab pos="1431925" algn="l"/>
                        </a:tabLst>
                      </a:pPr>
                      <a:r>
                        <a:rPr lang="id-ID" sz="4800" noProof="0" smtClean="0">
                          <a:latin typeface="Berlin Sans FB Demi" pitchFamily="34" charset="0"/>
                        </a:rPr>
                        <a:t>7,78% </a:t>
                      </a:r>
                    </a:p>
                    <a:p>
                      <a:pPr algn="ctr">
                        <a:tabLst>
                          <a:tab pos="1431925" algn="l"/>
                        </a:tabLst>
                      </a:pPr>
                      <a:r>
                        <a:rPr lang="id-ID" sz="2200" noProof="0" smtClean="0"/>
                        <a:t>PNS diatas 55</a:t>
                      </a:r>
                      <a:r>
                        <a:rPr lang="id-ID" sz="2200" baseline="0" noProof="0" smtClean="0"/>
                        <a:t> Tahun</a:t>
                      </a:r>
                      <a:endParaRPr lang="id-ID" sz="2200" noProof="0"/>
                    </a:p>
                  </a:txBody>
                  <a:tcPr marT="54864" marB="548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014844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3400" noProof="0" dirty="0" smtClean="0">
                          <a:solidFill>
                            <a:schemeClr val="bg1"/>
                          </a:solidFill>
                          <a:latin typeface="Berlin Sans FB Demi" pitchFamily="34" charset="0"/>
                        </a:rPr>
                        <a:t>37,26% </a:t>
                      </a:r>
                      <a:r>
                        <a:rPr lang="id-ID" sz="3200" noProof="0" dirty="0" smtClean="0">
                          <a:solidFill>
                            <a:schemeClr val="bg1"/>
                          </a:solidFill>
                          <a:latin typeface="Berlin Sans FB Demi" pitchFamily="34" charset="0"/>
                        </a:rPr>
                        <a:t>JFU</a:t>
                      </a:r>
                      <a:endParaRPr lang="id-ID" sz="3200" noProof="0" dirty="0">
                        <a:solidFill>
                          <a:schemeClr val="bg1"/>
                        </a:solidFill>
                        <a:latin typeface="Berlin Sans FB Demi" pitchFamily="34" charset="0"/>
                      </a:endParaRPr>
                    </a:p>
                  </a:txBody>
                  <a:tcPr marT="54864" marB="54864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580112" y="6381328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mtClean="0"/>
              <a:t>Sumber: PU-PNS BKN, 2016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12921678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00">
        <p14:prism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20116303"/>
              </p:ext>
            </p:extLst>
          </p:nvPr>
        </p:nvGraphicFramePr>
        <p:xfrm>
          <a:off x="663007" y="4628017"/>
          <a:ext cx="7958419" cy="1955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4294"/>
                <a:gridCol w="1838252"/>
                <a:gridCol w="1498707"/>
                <a:gridCol w="253716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id-ID" sz="2000" noProof="0" smtClean="0"/>
                        <a:t>Asal</a:t>
                      </a:r>
                      <a:endParaRPr lang="id-ID" sz="20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000" noProof="0" smtClean="0"/>
                        <a:t>Jumlah Pengangkatan</a:t>
                      </a:r>
                      <a:endParaRPr lang="id-ID" sz="2000" noProof="0"/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000" noProof="0" smtClean="0"/>
                        <a:t>Persentase</a:t>
                      </a:r>
                    </a:p>
                    <a:p>
                      <a:pPr algn="ctr"/>
                      <a:r>
                        <a:rPr lang="id-ID" sz="2000" noProof="0" smtClean="0"/>
                        <a:t>(%)</a:t>
                      </a:r>
                      <a:endParaRPr lang="id-ID" sz="2000" noProof="0"/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000" noProof="0" smtClean="0"/>
                        <a:t>Ratio</a:t>
                      </a:r>
                    </a:p>
                    <a:p>
                      <a:pPr algn="ctr"/>
                      <a:r>
                        <a:rPr lang="id-ID" sz="2000" baseline="0" noProof="0" smtClean="0"/>
                        <a:t>Terhadap </a:t>
                      </a:r>
                    </a:p>
                    <a:p>
                      <a:pPr algn="ctr"/>
                      <a:r>
                        <a:rPr lang="id-ID" sz="2000" baseline="0" noProof="0" smtClean="0"/>
                        <a:t>thd Total PNS</a:t>
                      </a:r>
                      <a:endParaRPr lang="id-ID" sz="2000" noProof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d-ID" sz="1600" b="1" noProof="0" smtClean="0"/>
                        <a:t>Tenaga Honorer </a:t>
                      </a:r>
                    </a:p>
                    <a:p>
                      <a:r>
                        <a:rPr lang="id-ID" sz="1600" b="1" noProof="0" smtClean="0"/>
                        <a:t>(THK1 + THK2)</a:t>
                      </a:r>
                      <a:endParaRPr lang="id-ID" sz="1600" b="1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lang="id-ID" sz="2000" b="1" noProof="0" smtClean="0"/>
                        <a:t>1.163.883</a:t>
                      </a:r>
                      <a:endParaRPr kumimoji="0" lang="id-ID" sz="2000" b="1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id-ID" sz="1800" b="1" kern="1200" noProof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%</a:t>
                      </a:r>
                      <a:endParaRPr kumimoji="0" lang="id-ID" sz="1800" b="1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id-ID" sz="1800" b="1" kern="1200" noProof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6%</a:t>
                      </a:r>
                      <a:endParaRPr kumimoji="0" lang="id-ID" sz="1800" b="1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d-ID" sz="1800" noProof="0" smtClean="0"/>
                        <a:t>Pelamar Umum</a:t>
                      </a:r>
                      <a:endParaRPr lang="id-ID" sz="18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id-ID" sz="2000" kern="1200" noProof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75.884</a:t>
                      </a:r>
                      <a:endParaRPr kumimoji="0" lang="id-ID" sz="20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id-ID" sz="1800" kern="1200" noProof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  <a:endParaRPr kumimoji="0" lang="id-ID" sz="1800" kern="1200" noProof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id-ID" sz="18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%</a:t>
                      </a:r>
                      <a:endParaRPr kumimoji="0" lang="id-ID" sz="18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9458" name="Rectangle 19457"/>
          <p:cNvSpPr/>
          <p:nvPr/>
        </p:nvSpPr>
        <p:spPr>
          <a:xfrm>
            <a:off x="663007" y="3821261"/>
            <a:ext cx="795841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d-ID" altLang="en-US" sz="2000" b="1" smtClean="0"/>
              <a:t>PENGANGKATAN CPNS NASIONAL</a:t>
            </a:r>
          </a:p>
          <a:p>
            <a:pPr algn="ctr"/>
            <a:r>
              <a:rPr lang="id-ID" altLang="en-US" sz="2000" b="1" smtClean="0"/>
              <a:t>TENAGA HONORER Vs PELAMAR UMUM</a:t>
            </a:r>
            <a:r>
              <a:rPr lang="id-ID" altLang="en-US" sz="2400" b="1" smtClean="0"/>
              <a:t> (2005-2014)</a:t>
            </a:r>
            <a:endParaRPr lang="id-ID" altLang="en-US" sz="2400" b="1"/>
          </a:p>
        </p:txBody>
      </p:sp>
      <p:sp>
        <p:nvSpPr>
          <p:cNvPr id="15" name="Rectangle 14"/>
          <p:cNvSpPr/>
          <p:nvPr/>
        </p:nvSpPr>
        <p:spPr>
          <a:xfrm>
            <a:off x="3889037" y="2116051"/>
            <a:ext cx="4581916" cy="28224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10711552"/>
              </p:ext>
            </p:extLst>
          </p:nvPr>
        </p:nvGraphicFramePr>
        <p:xfrm>
          <a:off x="3826460" y="968556"/>
          <a:ext cx="4777988" cy="2412745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2131578"/>
                <a:gridCol w="1347537"/>
                <a:gridCol w="1298873"/>
              </a:tblGrid>
              <a:tr h="393178">
                <a:tc>
                  <a:txBody>
                    <a:bodyPr/>
                    <a:lstStyle/>
                    <a:p>
                      <a:pPr algn="l" fontAlgn="ctr"/>
                      <a:r>
                        <a:rPr lang="id-ID" sz="1800" b="1" u="none" strike="noStrike" noProof="0" dirty="0" smtClean="0"/>
                        <a:t>JFT Guru </a:t>
                      </a:r>
                      <a:endParaRPr lang="id-ID" sz="1800" b="1" i="0" u="none" strike="noStrike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d-ID" sz="1600" u="none" strike="noStrike" noProof="0" smtClean="0"/>
                        <a:t> 1.676.144 </a:t>
                      </a:r>
                      <a:endParaRPr lang="id-ID" sz="1600" b="0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d-ID" sz="1600" b="1" u="none" strike="noStrike" noProof="0" smtClean="0"/>
                        <a:t>37,45 %</a:t>
                      </a:r>
                      <a:endParaRPr lang="id-ID" sz="1600" b="1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/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id-ID" sz="1800" b="1" i="0" u="none" strike="noStrike" noProof="0" smtClean="0">
                          <a:solidFill>
                            <a:schemeClr val="tx1"/>
                          </a:solidFill>
                          <a:latin typeface="+mn-lt"/>
                          <a:cs typeface="+mn-cs"/>
                        </a:rPr>
                        <a:t>JFT</a:t>
                      </a:r>
                      <a:r>
                        <a:rPr lang="id-ID" sz="1800" b="1" i="0" u="none" strike="noStrike" baseline="0" noProof="0" smtClean="0">
                          <a:solidFill>
                            <a:schemeClr val="tx1"/>
                          </a:solidFill>
                          <a:latin typeface="+mn-lt"/>
                          <a:cs typeface="+mn-cs"/>
                        </a:rPr>
                        <a:t> Kesehatan</a:t>
                      </a:r>
                      <a:endParaRPr lang="id-ID" sz="1800" b="1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d-ID" sz="1600" u="none" strike="noStrike" noProof="0" smtClean="0"/>
                        <a:t> 194.526 </a:t>
                      </a:r>
                      <a:endParaRPr lang="id-ID" sz="1600" b="0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d-ID" sz="1600" b="1" u="none" strike="noStrike" noProof="0" smtClean="0"/>
                        <a:t>4,34  %</a:t>
                      </a:r>
                      <a:endParaRPr lang="id-ID" sz="1600" b="1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/>
                </a:tc>
              </a:tr>
              <a:tr h="290362">
                <a:tc>
                  <a:txBody>
                    <a:bodyPr/>
                    <a:lstStyle/>
                    <a:p>
                      <a:pPr algn="l" fontAlgn="ctr"/>
                      <a:r>
                        <a:rPr lang="id-ID" sz="1800" b="1" u="none" strike="noStrike" noProof="0" smtClean="0"/>
                        <a:t>JFT</a:t>
                      </a:r>
                      <a:r>
                        <a:rPr lang="id-ID" sz="1800" b="1" u="none" strike="noStrike" baseline="0" noProof="0" smtClean="0"/>
                        <a:t> </a:t>
                      </a:r>
                      <a:r>
                        <a:rPr lang="id-ID" sz="1800" b="1" u="none" strike="noStrike" noProof="0" smtClean="0"/>
                        <a:t>Teknis</a:t>
                      </a:r>
                      <a:endParaRPr lang="id-ID" sz="1600" b="1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d-ID" sz="1600" u="none" strike="noStrike" noProof="0" smtClean="0"/>
                        <a:t> 438.489 </a:t>
                      </a:r>
                      <a:endParaRPr lang="id-ID" sz="1600" b="0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d-ID" sz="1600" b="1" u="none" strike="noStrike" noProof="0" smtClean="0"/>
                        <a:t>9,79  %</a:t>
                      </a:r>
                      <a:endParaRPr lang="id-ID" sz="1600" b="1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/>
                </a:tc>
              </a:tr>
              <a:tr h="290362">
                <a:tc>
                  <a:txBody>
                    <a:bodyPr/>
                    <a:lstStyle/>
                    <a:p>
                      <a:pPr algn="l" fontAlgn="ctr"/>
                      <a:r>
                        <a:rPr lang="id-ID" sz="1800" b="1" u="none" strike="noStrike" noProof="0" smtClean="0"/>
                        <a:t>JF U (Administrasi)</a:t>
                      </a:r>
                      <a:endParaRPr lang="id-ID" sz="1800" b="1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d-ID" sz="1600" u="none" strike="noStrike" noProof="0" smtClean="0"/>
                        <a:t>1.667.905</a:t>
                      </a:r>
                      <a:endParaRPr lang="id-ID" sz="1600" b="0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d-ID" sz="1600" b="1" u="none" strike="noStrike" noProof="0" dirty="0" smtClean="0"/>
                        <a:t>37,26 %</a:t>
                      </a:r>
                      <a:endParaRPr lang="id-ID" sz="1600" b="1" i="0" u="none" strike="noStrike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/>
                </a:tc>
              </a:tr>
              <a:tr h="290362">
                <a:tc>
                  <a:txBody>
                    <a:bodyPr/>
                    <a:lstStyle/>
                    <a:p>
                      <a:pPr algn="l" fontAlgn="ctr"/>
                      <a:r>
                        <a:rPr lang="id-ID" sz="1800" b="1" u="none" strike="noStrike" noProof="0"/>
                        <a:t>J Struktural</a:t>
                      </a:r>
                      <a:endParaRPr lang="id-ID" sz="1800" b="1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d-ID" sz="1600" u="none" strike="noStrike" noProof="0" smtClean="0"/>
                        <a:t> 498.251 </a:t>
                      </a:r>
                      <a:endParaRPr lang="id-ID" sz="1600" b="0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d-ID" sz="1600" b="1" u="none" strike="noStrike" noProof="0" smtClean="0"/>
                        <a:t>11,13 %</a:t>
                      </a:r>
                      <a:endParaRPr lang="id-ID" sz="1600" b="1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6527">
                <a:tc>
                  <a:txBody>
                    <a:bodyPr/>
                    <a:lstStyle/>
                    <a:p>
                      <a:pPr algn="l" fontAlgn="ctr"/>
                      <a:r>
                        <a:rPr lang="id-ID" sz="1800" b="1" u="none" strike="noStrike" noProof="0" smtClean="0"/>
                        <a:t>TOTAL PNS</a:t>
                      </a:r>
                      <a:endParaRPr lang="id-ID" sz="1800" b="1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d-ID" sz="1800" b="1" u="none" strike="noStrike" noProof="0" smtClean="0"/>
                        <a:t> 4.475.315 </a:t>
                      </a:r>
                      <a:endParaRPr lang="id-ID" sz="1800" b="1" i="0" u="none" strike="noStrike" noProof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d-ID" sz="1800" b="1" u="none" strike="noStrike" noProof="0" dirty="0" smtClean="0"/>
                        <a:t>100 %</a:t>
                      </a:r>
                      <a:endParaRPr lang="id-ID" sz="1800" b="1" i="0" u="none" strike="noStrike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9" marR="914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pSp>
        <p:nvGrpSpPr>
          <p:cNvPr id="17" name="Group 16"/>
          <p:cNvGrpSpPr/>
          <p:nvPr/>
        </p:nvGrpSpPr>
        <p:grpSpPr>
          <a:xfrm>
            <a:off x="670852" y="1152098"/>
            <a:ext cx="1744108" cy="1651956"/>
            <a:chOff x="609127" y="4063044"/>
            <a:chExt cx="1744108" cy="1651956"/>
          </a:xfrm>
        </p:grpSpPr>
        <p:sp>
          <p:nvSpPr>
            <p:cNvPr id="19" name="Oval 18"/>
            <p:cNvSpPr/>
            <p:nvPr/>
          </p:nvSpPr>
          <p:spPr>
            <a:xfrm>
              <a:off x="685800" y="4063044"/>
              <a:ext cx="1667435" cy="165195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20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09127" y="4201762"/>
              <a:ext cx="1744108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d-ID" smtClean="0">
                  <a:solidFill>
                    <a:schemeClr val="bg1"/>
                  </a:solidFill>
                </a:rPr>
                <a:t>JUMLAH </a:t>
              </a:r>
              <a:br>
                <a:rPr lang="id-ID" smtClean="0">
                  <a:solidFill>
                    <a:schemeClr val="bg1"/>
                  </a:solidFill>
                </a:rPr>
              </a:br>
              <a:r>
                <a:rPr lang="id-ID" smtClean="0">
                  <a:solidFill>
                    <a:schemeClr val="bg1"/>
                  </a:solidFill>
                </a:rPr>
                <a:t>PNS</a:t>
              </a:r>
            </a:p>
            <a:p>
              <a:pPr algn="ctr"/>
              <a:r>
                <a:rPr lang="id-ID" smtClean="0">
                  <a:solidFill>
                    <a:schemeClr val="bg1"/>
                  </a:solidFill>
                </a:rPr>
                <a:t>PER </a:t>
              </a:r>
            </a:p>
            <a:p>
              <a:pPr algn="ctr"/>
              <a:r>
                <a:rPr lang="id-ID" smtClean="0">
                  <a:solidFill>
                    <a:schemeClr val="bg1"/>
                  </a:solidFill>
                </a:rPr>
                <a:t>JUNI 2016</a:t>
              </a:r>
              <a:endParaRPr lang="id-ID">
                <a:solidFill>
                  <a:schemeClr val="bg1"/>
                </a:solidFill>
              </a:endParaRPr>
            </a:p>
          </p:txBody>
        </p:sp>
      </p:grpSp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470698" y="275171"/>
            <a:ext cx="82296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id-ID" altLang="en-US" sz="2800" b="1" smtClean="0"/>
              <a:t>KOMPOSISI ASN BERDASAR JABATAN</a:t>
            </a:r>
            <a:endParaRPr lang="id-ID" altLang="en-US" sz="2800" b="1"/>
          </a:p>
        </p:txBody>
      </p:sp>
      <p:cxnSp>
        <p:nvCxnSpPr>
          <p:cNvPr id="22" name="Straight Arrow Connector 21"/>
          <p:cNvCxnSpPr>
            <a:stCxn id="19" idx="6"/>
          </p:cNvCxnSpPr>
          <p:nvPr/>
        </p:nvCxnSpPr>
        <p:spPr>
          <a:xfrm>
            <a:off x="2414960" y="1978076"/>
            <a:ext cx="1004912" cy="0"/>
          </a:xfrm>
          <a:prstGeom prst="straightConnector1">
            <a:avLst/>
          </a:prstGeom>
          <a:ln w="762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0490380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80120" y="5081842"/>
            <a:ext cx="81243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7005" indent="11430"/>
            <a:r>
              <a:rPr lang="en-US" dirty="0" err="1">
                <a:ea typeface="Arial" panose="020B0604020202020204" pitchFamily="34" charset="0"/>
              </a:rPr>
              <a:t>Belanja</a:t>
            </a:r>
            <a:r>
              <a:rPr lang="en-US" dirty="0">
                <a:ea typeface="Arial" panose="020B0604020202020204" pitchFamily="34" charset="0"/>
              </a:rPr>
              <a:t> </a:t>
            </a:r>
            <a:r>
              <a:rPr lang="en-US" dirty="0" err="1">
                <a:ea typeface="Arial" panose="020B0604020202020204" pitchFamily="34" charset="0"/>
              </a:rPr>
              <a:t>pegawai</a:t>
            </a:r>
            <a:r>
              <a:rPr lang="en-US" dirty="0">
                <a:ea typeface="Arial" panose="020B0604020202020204" pitchFamily="34" charset="0"/>
              </a:rPr>
              <a:t> PNS </a:t>
            </a:r>
            <a:r>
              <a:rPr lang="en-US" dirty="0" err="1">
                <a:ea typeface="Arial" panose="020B0604020202020204" pitchFamily="34" charset="0"/>
              </a:rPr>
              <a:t>cenderung</a:t>
            </a:r>
            <a:r>
              <a:rPr lang="en-US" dirty="0">
                <a:ea typeface="Arial" panose="020B0604020202020204" pitchFamily="34" charset="0"/>
              </a:rPr>
              <a:t> </a:t>
            </a:r>
            <a:r>
              <a:rPr lang="en-US" dirty="0" err="1">
                <a:ea typeface="Arial" panose="020B0604020202020204" pitchFamily="34" charset="0"/>
              </a:rPr>
              <a:t>meningkat</a:t>
            </a:r>
            <a:r>
              <a:rPr lang="en-US" dirty="0">
                <a:ea typeface="Arial" panose="020B0604020202020204" pitchFamily="34" charset="0"/>
              </a:rPr>
              <a:t> </a:t>
            </a:r>
            <a:r>
              <a:rPr lang="en-US" dirty="0" err="1">
                <a:ea typeface="Arial" panose="020B0604020202020204" pitchFamily="34" charset="0"/>
              </a:rPr>
              <a:t>dari</a:t>
            </a:r>
            <a:r>
              <a:rPr lang="en-US" dirty="0">
                <a:ea typeface="Arial" panose="020B0604020202020204" pitchFamily="34" charset="0"/>
              </a:rPr>
              <a:t> </a:t>
            </a:r>
            <a:r>
              <a:rPr lang="en-US" dirty="0" err="1">
                <a:ea typeface="Arial" panose="020B0604020202020204" pitchFamily="34" charset="0"/>
              </a:rPr>
              <a:t>Rp</a:t>
            </a:r>
            <a:r>
              <a:rPr lang="en-US" dirty="0">
                <a:ea typeface="Arial" panose="020B0604020202020204" pitchFamily="34" charset="0"/>
              </a:rPr>
              <a:t> </a:t>
            </a:r>
            <a:r>
              <a:rPr lang="is-IS" dirty="0">
                <a:ea typeface="Arial" panose="020B0604020202020204" pitchFamily="34" charset="0"/>
              </a:rPr>
              <a:t>351.08 Triliun pada Tahun 2010 menjadi </a:t>
            </a:r>
            <a:r>
              <a:rPr lang="hr-HR" dirty="0">
                <a:ea typeface="Arial" panose="020B0604020202020204" pitchFamily="34" charset="0"/>
              </a:rPr>
              <a:t> </a:t>
            </a:r>
            <a:r>
              <a:rPr lang="en-US" dirty="0" err="1">
                <a:ea typeface="Arial" panose="020B0604020202020204" pitchFamily="34" charset="0"/>
              </a:rPr>
              <a:t>Rp</a:t>
            </a:r>
            <a:r>
              <a:rPr lang="en-US" dirty="0">
                <a:ea typeface="Arial" panose="020B0604020202020204" pitchFamily="34" charset="0"/>
              </a:rPr>
              <a:t> </a:t>
            </a:r>
            <a:r>
              <a:rPr lang="hr-HR" dirty="0">
                <a:ea typeface="Arial" panose="020B0604020202020204" pitchFamily="34" charset="0"/>
              </a:rPr>
              <a:t>732.90</a:t>
            </a:r>
            <a:r>
              <a:rPr lang="en-US" dirty="0">
                <a:ea typeface="Arial" panose="020B0604020202020204" pitchFamily="34" charset="0"/>
              </a:rPr>
              <a:t> </a:t>
            </a:r>
            <a:r>
              <a:rPr lang="en-US" dirty="0" err="1">
                <a:ea typeface="Arial" panose="020B0604020202020204" pitchFamily="34" charset="0"/>
              </a:rPr>
              <a:t>Triliun</a:t>
            </a:r>
            <a:r>
              <a:rPr lang="en-US" dirty="0">
                <a:ea typeface="Arial" panose="020B0604020202020204" pitchFamily="34" charset="0"/>
              </a:rPr>
              <a:t> </a:t>
            </a:r>
            <a:r>
              <a:rPr lang="en-US" dirty="0" err="1">
                <a:ea typeface="Arial" panose="020B0604020202020204" pitchFamily="34" charset="0"/>
              </a:rPr>
              <a:t>pada</a:t>
            </a:r>
            <a:r>
              <a:rPr lang="en-US" dirty="0">
                <a:ea typeface="Arial" panose="020B0604020202020204" pitchFamily="34" charset="0"/>
              </a:rPr>
              <a:t> </a:t>
            </a:r>
            <a:r>
              <a:rPr lang="en-US" dirty="0" err="1">
                <a:ea typeface="Arial" panose="020B0604020202020204" pitchFamily="34" charset="0"/>
              </a:rPr>
              <a:t>Tahun</a:t>
            </a:r>
            <a:r>
              <a:rPr lang="en-US" dirty="0">
                <a:ea typeface="Arial" panose="020B0604020202020204" pitchFamily="34" charset="0"/>
              </a:rPr>
              <a:t> 2016</a:t>
            </a:r>
            <a:r>
              <a:rPr lang="id-ID" dirty="0">
                <a:ea typeface="Arial" panose="020B0604020202020204" pitchFamily="34" charset="0"/>
              </a:rPr>
              <a:t>.</a:t>
            </a:r>
            <a:endParaRPr lang="en-US" dirty="0">
              <a:ea typeface="Arial" panose="020B0604020202020204" pitchFamily="34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46743" y="281995"/>
            <a:ext cx="8752114" cy="55399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ctr" eaLnBrk="1" hangingPunct="1"/>
            <a:r>
              <a:rPr lang="en-US" altLang="en-US" sz="3000" b="1" dirty="0">
                <a:ea typeface="MS PGothic" panose="020B0600070205080204" pitchFamily="34" charset="-128"/>
              </a:rPr>
              <a:t>TREN</a:t>
            </a:r>
            <a:r>
              <a:rPr lang="id-ID" altLang="en-US" sz="3000" b="1" dirty="0">
                <a:ea typeface="MS PGothic" panose="020B0600070205080204" pitchFamily="34" charset="-128"/>
              </a:rPr>
              <a:t> BELANJA PEGAWAI</a:t>
            </a:r>
            <a:r>
              <a:rPr lang="en-US" altLang="en-US" sz="3000" b="1" dirty="0">
                <a:ea typeface="MS PGothic" panose="020B0600070205080204" pitchFamily="34" charset="-128"/>
              </a:rPr>
              <a:t> ASN PUSAT DAN DAERAH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0" y="5982949"/>
            <a:ext cx="9144000" cy="875053"/>
            <a:chOff x="0" y="5982947"/>
            <a:chExt cx="9144000" cy="875053"/>
          </a:xfrm>
        </p:grpSpPr>
        <p:grpSp>
          <p:nvGrpSpPr>
            <p:cNvPr id="10" name="Group 9"/>
            <p:cNvGrpSpPr/>
            <p:nvPr/>
          </p:nvGrpSpPr>
          <p:grpSpPr>
            <a:xfrm>
              <a:off x="0" y="6225989"/>
              <a:ext cx="9144000" cy="632011"/>
              <a:chOff x="-1" y="4780006"/>
              <a:chExt cx="9366882" cy="672012"/>
            </a:xfrm>
          </p:grpSpPr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38678" b="41490"/>
              <a:stretch>
                <a:fillRect/>
              </a:stretch>
            </p:blipFill>
            <p:spPr>
              <a:xfrm>
                <a:off x="-1" y="4780006"/>
                <a:ext cx="5341729" cy="672012"/>
              </a:xfrm>
              <a:prstGeom prst="rect">
                <a:avLst/>
              </a:prstGeom>
            </p:spPr>
          </p:pic>
          <p:pic>
            <p:nvPicPr>
              <p:cNvPr id="13" name="Picture 12"/>
              <p:cNvPicPr>
                <a:picLocks noChangeAspect="1"/>
              </p:cNvPicPr>
              <p:nvPr/>
            </p:nvPicPr>
            <p:blipFill rotWithShape="1"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38678" b="41490"/>
              <a:stretch>
                <a:fillRect/>
              </a:stretch>
            </p:blipFill>
            <p:spPr>
              <a:xfrm>
                <a:off x="4025152" y="4780006"/>
                <a:ext cx="5341729" cy="672011"/>
              </a:xfrm>
              <a:prstGeom prst="rect">
                <a:avLst/>
              </a:prstGeom>
            </p:spPr>
          </p:pic>
        </p:grpSp>
        <p:pic>
          <p:nvPicPr>
            <p:cNvPr id="11" name="Picture 3" descr="Logo Kemenpan2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329" y="5982947"/>
              <a:ext cx="633271" cy="830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20576" y="1017552"/>
            <a:ext cx="6204448" cy="410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11759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5"/>
          <p:cNvGraphicFramePr>
            <a:graphicFrameLocks noGrp="1"/>
          </p:cNvGraphicFramePr>
          <p:nvPr>
            <p:ph idx="1"/>
          </p:nvPr>
        </p:nvGraphicFramePr>
        <p:xfrm>
          <a:off x="244981" y="4365106"/>
          <a:ext cx="5616624" cy="1149985"/>
        </p:xfrm>
        <a:graphic>
          <a:graphicData uri="http://schemas.openxmlformats.org/drawingml/2006/table">
            <a:tbl>
              <a:tblPr/>
              <a:tblGrid>
                <a:gridCol w="576064"/>
                <a:gridCol w="3528392"/>
                <a:gridCol w="1512168"/>
              </a:tblGrid>
              <a:tr h="38989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SIO BELANJA PEGAWAI DALAM </a:t>
                      </a:r>
                      <a:r>
                        <a:rPr lang="en-US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BD</a:t>
                      </a:r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%)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MLAH PEMD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383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urang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ri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0 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22593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0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– 60 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2593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bih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ri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0 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  <p:sp>
        <p:nvSpPr>
          <p:cNvPr id="19" name="Title 1"/>
          <p:cNvSpPr txBox="1"/>
          <p:nvPr/>
        </p:nvSpPr>
        <p:spPr>
          <a:xfrm>
            <a:off x="16381" y="121786"/>
            <a:ext cx="9144000" cy="642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eaLnBrk="1" hangingPunct="1"/>
            <a:r>
              <a:rPr lang="en-US" altLang="id-ID" sz="2400" b="1" dirty="0"/>
              <a:t>RASIO BELANJA PEGAWAI DALAM APBD TAHUN 2015</a:t>
            </a:r>
            <a:endParaRPr lang="pt-BR" altLang="id-ID" sz="2400" b="1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/>
          <a:srcRect l="15622" t="31264" r="17158" b="4143"/>
          <a:stretch>
            <a:fillRect/>
          </a:stretch>
        </p:blipFill>
        <p:spPr>
          <a:xfrm>
            <a:off x="244981" y="1124746"/>
            <a:ext cx="8686800" cy="311359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/>
          <a:srcRect l="91741" t="15815" r="575" b="73793"/>
          <a:stretch>
            <a:fillRect/>
          </a:stretch>
        </p:blipFill>
        <p:spPr>
          <a:xfrm>
            <a:off x="7610956" y="1251689"/>
            <a:ext cx="1212750" cy="611742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0" y="5982949"/>
            <a:ext cx="9144000" cy="875053"/>
            <a:chOff x="0" y="5982947"/>
            <a:chExt cx="9144000" cy="875053"/>
          </a:xfrm>
        </p:grpSpPr>
        <p:grpSp>
          <p:nvGrpSpPr>
            <p:cNvPr id="8" name="Group 7"/>
            <p:cNvGrpSpPr/>
            <p:nvPr/>
          </p:nvGrpSpPr>
          <p:grpSpPr>
            <a:xfrm>
              <a:off x="0" y="6225989"/>
              <a:ext cx="9144000" cy="632011"/>
              <a:chOff x="-1" y="4780006"/>
              <a:chExt cx="9366882" cy="672012"/>
            </a:xfrm>
          </p:grpSpPr>
          <p:pic>
            <p:nvPicPr>
              <p:cNvPr id="10" name="Picture 9"/>
              <p:cNvPicPr>
                <a:picLocks noChangeAspect="1"/>
              </p:cNvPicPr>
              <p:nvPr/>
            </p:nvPicPr>
            <p:blipFill rotWithShape="1"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38678" b="41490"/>
              <a:stretch>
                <a:fillRect/>
              </a:stretch>
            </p:blipFill>
            <p:spPr>
              <a:xfrm>
                <a:off x="-1" y="4780006"/>
                <a:ext cx="5341729" cy="672012"/>
              </a:xfrm>
              <a:prstGeom prst="rect">
                <a:avLst/>
              </a:prstGeom>
            </p:spPr>
          </p:pic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38678" b="41490"/>
              <a:stretch>
                <a:fillRect/>
              </a:stretch>
            </p:blipFill>
            <p:spPr>
              <a:xfrm>
                <a:off x="4025152" y="4780006"/>
                <a:ext cx="5341729" cy="672011"/>
              </a:xfrm>
              <a:prstGeom prst="rect">
                <a:avLst/>
              </a:prstGeom>
            </p:spPr>
          </p:pic>
        </p:grpSp>
        <p:pic>
          <p:nvPicPr>
            <p:cNvPr id="9" name="Picture 3" descr="Logo Kemenpan2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329" y="5982947"/>
              <a:ext cx="633271" cy="830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2659696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5"/>
          <p:cNvGraphicFramePr>
            <a:graphicFrameLocks noGrp="1"/>
          </p:cNvGraphicFramePr>
          <p:nvPr>
            <p:ph idx="1"/>
          </p:nvPr>
        </p:nvGraphicFramePr>
        <p:xfrm>
          <a:off x="244981" y="4365106"/>
          <a:ext cx="5616624" cy="1403350"/>
        </p:xfrm>
        <a:graphic>
          <a:graphicData uri="http://schemas.openxmlformats.org/drawingml/2006/table">
            <a:tbl>
              <a:tblPr/>
              <a:tblGrid>
                <a:gridCol w="576064"/>
                <a:gridCol w="3528392"/>
                <a:gridCol w="1512168"/>
              </a:tblGrid>
              <a:tr h="38989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76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SIO JUMLAH PNS TERHADAP PENDUDUK (%)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MLAH PEMD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383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urang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ri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.5 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22593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.5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– 2.0 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2593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bih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ri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.0 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22593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en-US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dak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a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ata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</a:tbl>
          </a:graphicData>
        </a:graphic>
      </p:graphicFrame>
      <p:sp>
        <p:nvSpPr>
          <p:cNvPr id="19" name="Title 1"/>
          <p:cNvSpPr txBox="1"/>
          <p:nvPr/>
        </p:nvSpPr>
        <p:spPr>
          <a:xfrm>
            <a:off x="16381" y="121786"/>
            <a:ext cx="9144000" cy="642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eaLnBrk="1" hangingPunct="1"/>
            <a:r>
              <a:rPr lang="en-US" altLang="id-ID" sz="2400" b="1" dirty="0"/>
              <a:t>RASIO </a:t>
            </a:r>
            <a:r>
              <a:rPr lang="en-US" altLang="id-ID" sz="2400" b="1" dirty="0" smtClean="0"/>
              <a:t>JUMLAH PNS TERHADAP PENDUDUK </a:t>
            </a:r>
            <a:r>
              <a:rPr lang="en-US" altLang="id-ID" sz="2400" b="1" dirty="0"/>
              <a:t>TAHUN </a:t>
            </a:r>
            <a:r>
              <a:rPr lang="en-US" altLang="id-ID" sz="2400" b="1" dirty="0" smtClean="0"/>
              <a:t>2016</a:t>
            </a:r>
            <a:endParaRPr lang="pt-BR" altLang="id-ID" sz="2400" b="1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5982949"/>
            <a:ext cx="9144000" cy="875053"/>
            <a:chOff x="0" y="5982947"/>
            <a:chExt cx="9144000" cy="875053"/>
          </a:xfrm>
        </p:grpSpPr>
        <p:grpSp>
          <p:nvGrpSpPr>
            <p:cNvPr id="8" name="Group 7"/>
            <p:cNvGrpSpPr/>
            <p:nvPr/>
          </p:nvGrpSpPr>
          <p:grpSpPr>
            <a:xfrm>
              <a:off x="0" y="6225989"/>
              <a:ext cx="9144000" cy="632011"/>
              <a:chOff x="-1" y="4780006"/>
              <a:chExt cx="9366882" cy="672012"/>
            </a:xfrm>
          </p:grpSpPr>
          <p:pic>
            <p:nvPicPr>
              <p:cNvPr id="10" name="Picture 9"/>
              <p:cNvPicPr>
                <a:picLocks noChangeAspect="1"/>
              </p:cNvPicPr>
              <p:nvPr/>
            </p:nvPicPr>
            <p:blipFill rotWithShape="1"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38678" b="41490"/>
              <a:stretch>
                <a:fillRect/>
              </a:stretch>
            </p:blipFill>
            <p:spPr>
              <a:xfrm>
                <a:off x="-1" y="4780006"/>
                <a:ext cx="5341729" cy="672012"/>
              </a:xfrm>
              <a:prstGeom prst="rect">
                <a:avLst/>
              </a:prstGeom>
            </p:spPr>
          </p:pic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38678" b="41490"/>
              <a:stretch>
                <a:fillRect/>
              </a:stretch>
            </p:blipFill>
            <p:spPr>
              <a:xfrm>
                <a:off x="4025152" y="4780006"/>
                <a:ext cx="5341729" cy="672011"/>
              </a:xfrm>
              <a:prstGeom prst="rect">
                <a:avLst/>
              </a:prstGeom>
            </p:spPr>
          </p:pic>
        </p:grpSp>
        <p:pic>
          <p:nvPicPr>
            <p:cNvPr id="9" name="Picture 3" descr="Logo Kemenpan2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329" y="5982947"/>
              <a:ext cx="633271" cy="830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111" y="856868"/>
            <a:ext cx="8130540" cy="30403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7361" y="943238"/>
            <a:ext cx="1047750" cy="657225"/>
          </a:xfrm>
          <a:prstGeom prst="rect">
            <a:avLst/>
          </a:prstGeom>
        </p:spPr>
      </p:pic>
      <p:cxnSp>
        <p:nvCxnSpPr>
          <p:cNvPr id="3" name="Straight Arrow Connector 2"/>
          <p:cNvCxnSpPr/>
          <p:nvPr/>
        </p:nvCxnSpPr>
        <p:spPr>
          <a:xfrm>
            <a:off x="5888334" y="4893547"/>
            <a:ext cx="472273" cy="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380706" y="4411235"/>
            <a:ext cx="25120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 smtClean="0"/>
              <a:t>Perlu</a:t>
            </a:r>
            <a:r>
              <a:rPr lang="en-US" sz="2000" dirty="0" smtClean="0"/>
              <a:t> </a:t>
            </a:r>
            <a:r>
              <a:rPr lang="en-US" sz="2000" dirty="0" err="1" smtClean="0"/>
              <a:t>intervensi</a:t>
            </a:r>
            <a:r>
              <a:rPr lang="en-US" sz="2000" dirty="0" smtClean="0"/>
              <a:t> </a:t>
            </a:r>
          </a:p>
          <a:p>
            <a:r>
              <a:rPr lang="en-US" sz="2000" dirty="0" smtClean="0"/>
              <a:t>e-Government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4172802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285533" y="1142984"/>
          <a:ext cx="8572748" cy="5509534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2255150"/>
                <a:gridCol w="423172"/>
                <a:gridCol w="5894426"/>
              </a:tblGrid>
              <a:tr h="660802">
                <a:tc>
                  <a:txBody>
                    <a:bodyPr/>
                    <a:lstStyle/>
                    <a:p>
                      <a:r>
                        <a:rPr lang="en-US" sz="2600" b="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KUDIS</a:t>
                      </a:r>
                      <a:endParaRPr lang="en-US" sz="2600" b="0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b="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:</a:t>
                      </a:r>
                      <a:endParaRPr lang="en-US" sz="2600" b="0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KU</a:t>
                      </a:r>
                      <a:r>
                        <a:rPr lang="en-US" sz="2600" b="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RANG 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DIS</a:t>
                      </a:r>
                      <a:r>
                        <a:rPr lang="en-US" sz="2600" b="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PLIN</a:t>
                      </a:r>
                      <a:endParaRPr lang="en-US" sz="2600" b="0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</a:tr>
              <a:tr h="660802">
                <a:tc>
                  <a:txBody>
                    <a:bodyPr/>
                    <a:lstStyle/>
                    <a:p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TBC</a:t>
                      </a:r>
                      <a:endParaRPr lang="en-US" sz="26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:</a:t>
                      </a:r>
                      <a:endParaRPr lang="en-US" sz="2600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T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DAK 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B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SA 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C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OMPUTER</a:t>
                      </a:r>
                      <a:endParaRPr lang="en-US" sz="2600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</a:tr>
              <a:tr h="660802">
                <a:tc>
                  <a:txBody>
                    <a:bodyPr/>
                    <a:lstStyle/>
                    <a:p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SMA</a:t>
                      </a:r>
                      <a:endParaRPr lang="en-US" sz="26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:</a:t>
                      </a:r>
                      <a:endParaRPr lang="en-US" sz="2600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S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L 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M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ENGISI 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BSEN</a:t>
                      </a:r>
                      <a:endParaRPr lang="en-US" sz="2600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</a:tr>
              <a:tr h="660802">
                <a:tc>
                  <a:txBody>
                    <a:bodyPr/>
                    <a:lstStyle/>
                    <a:p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KRAM</a:t>
                      </a:r>
                      <a:endParaRPr lang="en-US" sz="26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:</a:t>
                      </a:r>
                      <a:endParaRPr lang="en-US" sz="2600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600" b="1" i="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K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URANG TE</a:t>
                      </a:r>
                      <a:r>
                        <a:rPr lang="en-US" sz="2600" b="1" i="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RAM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PIL</a:t>
                      </a:r>
                      <a:endParaRPr lang="en-US" sz="2600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</a:tr>
              <a:tr h="660802">
                <a:tc>
                  <a:txBody>
                    <a:bodyPr/>
                    <a:lstStyle/>
                    <a:p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SAM URAT</a:t>
                      </a:r>
                      <a:endParaRPr lang="en-US" sz="26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:</a:t>
                      </a:r>
                      <a:endParaRPr lang="en-US" sz="2600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S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L </a:t>
                      </a:r>
                      <a:r>
                        <a:rPr lang="en-US" sz="2600" b="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S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M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PAI KANTOR TR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U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S 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T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DUR</a:t>
                      </a:r>
                      <a:endParaRPr lang="en-US" sz="2600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</a:tr>
              <a:tr h="660802">
                <a:tc>
                  <a:txBody>
                    <a:bodyPr/>
                    <a:lstStyle/>
                    <a:p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GINJAL</a:t>
                      </a:r>
                      <a:endParaRPr lang="en-US" sz="26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:</a:t>
                      </a:r>
                      <a:endParaRPr lang="en-US" sz="2600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G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JI 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GIN 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IK TAPI KER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JA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NYA 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L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MBAN</a:t>
                      </a:r>
                      <a:endParaRPr lang="en-US" sz="2600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</a:tr>
              <a:tr h="660802">
                <a:tc>
                  <a:txBody>
                    <a:bodyPr/>
                    <a:lstStyle/>
                    <a:p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PUCAT</a:t>
                      </a:r>
                      <a:endParaRPr lang="en-US" sz="26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:</a:t>
                      </a:r>
                      <a:endParaRPr lang="en-US" sz="2600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PU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LANG 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C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EP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T</a:t>
                      </a:r>
                      <a:endParaRPr lang="en-US" sz="26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</a:tr>
              <a:tr h="660802">
                <a:tc>
                  <a:txBody>
                    <a:bodyPr/>
                    <a:lstStyle/>
                    <a:p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MAGH</a:t>
                      </a:r>
                      <a:endParaRPr lang="en-US" sz="26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:</a:t>
                      </a:r>
                      <a:endParaRPr lang="en-US" sz="2600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MA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KAN 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G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JI BUTA </a:t>
                      </a:r>
                      <a:r>
                        <a:rPr lang="en-US" sz="2600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H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E </a:t>
                      </a:r>
                      <a:r>
                        <a:rPr lang="en-US" sz="2600" dirty="0" err="1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HE</a:t>
                      </a:r>
                      <a:r>
                        <a:rPr lang="en-US" sz="2600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sz="2600" dirty="0" err="1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HE</a:t>
                      </a:r>
                      <a:endParaRPr lang="en-US" sz="2600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6" name="Rounded Rectangle 5"/>
          <p:cNvSpPr/>
          <p:nvPr/>
        </p:nvSpPr>
        <p:spPr>
          <a:xfrm>
            <a:off x="251520" y="332656"/>
            <a:ext cx="8640960" cy="648072"/>
          </a:xfrm>
          <a:prstGeom prst="roundRect">
            <a:avLst/>
          </a:prstGeom>
          <a:gradFill rotWithShape="1">
            <a:gsLst>
              <a:gs pos="38000">
                <a:srgbClr val="76C5EF">
                  <a:satMod val="120000"/>
                </a:srgbClr>
              </a:gs>
              <a:gs pos="100000">
                <a:srgbClr val="76C5EF">
                  <a:shade val="60000"/>
                  <a:satMod val="180000"/>
                  <a:lumMod val="70000"/>
                </a:srgbClr>
              </a:gs>
            </a:gsLst>
            <a:lin ang="4680000" scaled="0"/>
          </a:gradFill>
          <a:ln w="12700" cap="flat" cmpd="sng" algn="ctr">
            <a:solidFill>
              <a:srgbClr val="76C5EF">
                <a:shade val="50000"/>
              </a:srgbClr>
            </a:solidFill>
            <a:prstDash val="solid"/>
          </a:ln>
          <a:effectLst>
            <a:outerShdw blurRad="76200" dist="25400" dir="5400000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19800000"/>
            </a:lightRig>
          </a:scene3d>
          <a:sp3d prstMaterial="metal">
            <a:bevelT w="152400" h="63500" prst="softRound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ABAH PENYAKIT PNS TERKINI</a:t>
            </a:r>
          </a:p>
        </p:txBody>
      </p:sp>
    </p:spTree>
    <p:extLst>
      <p:ext uri="{BB962C8B-B14F-4D97-AF65-F5344CB8AC3E}">
        <p14:creationId xmlns:p14="http://schemas.microsoft.com/office/powerpoint/2010/main" xmlns="" val="2160184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Alternate Process 3"/>
          <p:cNvSpPr/>
          <p:nvPr/>
        </p:nvSpPr>
        <p:spPr>
          <a:xfrm>
            <a:off x="138113" y="3671248"/>
            <a:ext cx="8853487" cy="2552131"/>
          </a:xfrm>
          <a:prstGeom prst="flowChartAlternateProcess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6387" name="Title 2"/>
          <p:cNvSpPr>
            <a:spLocks noGrp="1"/>
          </p:cNvSpPr>
          <p:nvPr>
            <p:ph type="ctrTitle"/>
          </p:nvPr>
        </p:nvSpPr>
        <p:spPr>
          <a:xfrm>
            <a:off x="1924050" y="4200085"/>
            <a:ext cx="6674040" cy="1490546"/>
          </a:xfrm>
        </p:spPr>
        <p:txBody>
          <a:bodyPr>
            <a:normAutofit/>
          </a:bodyPr>
          <a:lstStyle/>
          <a:p>
            <a:pPr algn="l" eaLnBrk="1" hangingPunct="1"/>
            <a:r>
              <a:rPr lang="en-US" altLang="en-US" sz="4400" b="1" dirty="0" smtClean="0">
                <a:solidFill>
                  <a:schemeClr val="bg1"/>
                </a:solidFill>
              </a:rPr>
              <a:t>ARAH PENGEMBANGAN ASN (2015-2019)</a:t>
            </a:r>
            <a:endParaRPr lang="id-ID" altLang="en-US" sz="4000" dirty="0" smtClean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 bwMode="auto">
          <a:xfrm>
            <a:off x="565249" y="4014333"/>
            <a:ext cx="931665" cy="186204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15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+mn-cs"/>
              </a:rPr>
              <a:t>2</a:t>
            </a:r>
            <a:endParaRPr lang="id-ID" sz="115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1619727" y="4200085"/>
            <a:ext cx="82171" cy="14905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96827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323850" y="1265238"/>
            <a:ext cx="8462963" cy="831849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ts val="2200"/>
              </a:lnSpc>
              <a:defRPr/>
            </a:pPr>
            <a:r>
              <a:rPr lang="id-ID" sz="1600" b="1" dirty="0">
                <a:solidFill>
                  <a:schemeClr val="bg1"/>
                </a:solidFill>
                <a:latin typeface="Calibri" pitchFamily="34" charset="0"/>
                <a:ea typeface="+mj-ea"/>
                <a:cs typeface="Calibri" pitchFamily="34" charset="0"/>
              </a:rPr>
              <a:t>Visi Pembangunan </a:t>
            </a:r>
            <a:r>
              <a:rPr lang="id-ID" sz="1600" b="1" dirty="0" smtClean="0">
                <a:solidFill>
                  <a:schemeClr val="bg1"/>
                </a:solidFill>
                <a:latin typeface="Calibri" pitchFamily="34" charset="0"/>
                <a:ea typeface="+mj-ea"/>
                <a:cs typeface="Calibri" pitchFamily="34" charset="0"/>
              </a:rPr>
              <a:t>2005-2025</a:t>
            </a:r>
            <a:endParaRPr lang="en-US" sz="1600" b="1" dirty="0" smtClean="0">
              <a:solidFill>
                <a:schemeClr val="bg1"/>
              </a:solidFill>
              <a:latin typeface="Calibri" pitchFamily="34" charset="0"/>
              <a:ea typeface="+mj-ea"/>
              <a:cs typeface="Calibri" pitchFamily="34" charset="0"/>
            </a:endParaRPr>
          </a:p>
          <a:p>
            <a:pPr algn="ctr">
              <a:lnSpc>
                <a:spcPts val="2200"/>
              </a:lnSpc>
              <a:defRPr/>
            </a:pPr>
            <a:r>
              <a:rPr lang="id-ID" sz="2400" b="1" dirty="0" smtClean="0">
                <a:solidFill>
                  <a:schemeClr val="bg1"/>
                </a:solidFill>
                <a:latin typeface="Calibri" pitchFamily="34" charset="0"/>
                <a:ea typeface="+mj-ea"/>
                <a:cs typeface="Calibri" pitchFamily="34" charset="0"/>
              </a:rPr>
              <a:t>INDONESIA </a:t>
            </a:r>
            <a:r>
              <a:rPr lang="id-ID" sz="2400" b="1" dirty="0">
                <a:solidFill>
                  <a:schemeClr val="bg1"/>
                </a:solidFill>
                <a:latin typeface="Calibri" pitchFamily="34" charset="0"/>
                <a:ea typeface="+mj-ea"/>
                <a:cs typeface="Calibri" pitchFamily="34" charset="0"/>
              </a:rPr>
              <a:t>YANG MANDIRI, MAJU, ADIL DAN MAKMUR</a:t>
            </a:r>
          </a:p>
        </p:txBody>
      </p:sp>
      <p:pic>
        <p:nvPicPr>
          <p:cNvPr id="5" name="Picture 1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850" y="2178050"/>
            <a:ext cx="8462963" cy="41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</p:pic>
      <p:sp>
        <p:nvSpPr>
          <p:cNvPr id="6" name="Down Arrow 2"/>
          <p:cNvSpPr>
            <a:spLocks noChangeArrowheads="1"/>
          </p:cNvSpPr>
          <p:nvPr/>
        </p:nvSpPr>
        <p:spPr bwMode="auto">
          <a:xfrm>
            <a:off x="5215731" y="2383632"/>
            <a:ext cx="647700" cy="360362"/>
          </a:xfrm>
          <a:prstGeom prst="downArrow">
            <a:avLst>
              <a:gd name="adj1" fmla="val 63315"/>
              <a:gd name="adj2" fmla="val 30032"/>
            </a:avLst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endParaRPr lang="id-ID" altLang="id-ID" sz="1000"/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4625976" y="3476625"/>
            <a:ext cx="1782352" cy="1619250"/>
          </a:xfrm>
          <a:prstGeom prst="rect">
            <a:avLst/>
          </a:prstGeom>
          <a:solidFill>
            <a:srgbClr val="FFFF00">
              <a:alpha val="23921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square">
            <a:spAutoFit/>
          </a:bodyPr>
          <a:lstStyle/>
          <a:p>
            <a:endParaRPr lang="id-ID" altLang="id-ID" sz="1000"/>
          </a:p>
        </p:txBody>
      </p:sp>
      <p:sp>
        <p:nvSpPr>
          <p:cNvPr id="8" name="Rectangle 7"/>
          <p:cNvSpPr/>
          <p:nvPr/>
        </p:nvSpPr>
        <p:spPr>
          <a:xfrm>
            <a:off x="6843713" y="5895975"/>
            <a:ext cx="1922462" cy="3381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id-ID" sz="1400" dirty="0">
                <a:solidFill>
                  <a:schemeClr val="accent5">
                    <a:lumMod val="25000"/>
                  </a:schemeClr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id-ID" sz="1600" dirty="0">
                <a:solidFill>
                  <a:schemeClr val="accent5">
                    <a:lumMod val="25000"/>
                  </a:schemeClr>
                </a:solidFill>
                <a:latin typeface="Calibri" pitchFamily="34" charset="0"/>
                <a:cs typeface="Calibri" pitchFamily="34" charset="0"/>
              </a:rPr>
              <a:t>UU 17 TAHUN 2007)</a:t>
            </a:r>
            <a:endParaRPr lang="en-US" sz="1600" dirty="0"/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323850" y="219075"/>
            <a:ext cx="8462963" cy="95567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id-ID" sz="2800" b="1" dirty="0" smtClean="0">
                <a:solidFill>
                  <a:schemeClr val="accent5">
                    <a:lumMod val="25000"/>
                  </a:schemeClr>
                </a:solidFill>
                <a:latin typeface="Calibri" pitchFamily="34" charset="0"/>
                <a:cs typeface="Calibri" pitchFamily="34" charset="0"/>
              </a:rPr>
              <a:t>RPJMN 2015-2019 </a:t>
            </a:r>
            <a:br>
              <a:rPr lang="id-ID" sz="2800" b="1" dirty="0" smtClean="0">
                <a:solidFill>
                  <a:schemeClr val="accent5">
                    <a:lumMod val="25000"/>
                  </a:schemeClr>
                </a:solidFill>
                <a:latin typeface="Calibri" pitchFamily="34" charset="0"/>
                <a:cs typeface="Calibri" pitchFamily="34" charset="0"/>
              </a:rPr>
            </a:br>
            <a:r>
              <a:rPr lang="id-ID" sz="2800" b="1" dirty="0" smtClean="0">
                <a:solidFill>
                  <a:schemeClr val="accent5">
                    <a:lumMod val="25000"/>
                  </a:schemeClr>
                </a:solidFill>
                <a:latin typeface="Calibri" pitchFamily="34" charset="0"/>
                <a:cs typeface="Calibri" pitchFamily="34" charset="0"/>
              </a:rPr>
              <a:t>ADALAH RPJMN KE III DALAM </a:t>
            </a:r>
            <a:r>
              <a:rPr lang="en-US" sz="2800" b="1" dirty="0" smtClean="0">
                <a:solidFill>
                  <a:schemeClr val="accent5">
                    <a:lumMod val="25000"/>
                  </a:schemeClr>
                </a:solidFill>
                <a:latin typeface="Calibri" pitchFamily="34" charset="0"/>
                <a:cs typeface="Calibri" pitchFamily="34" charset="0"/>
              </a:rPr>
              <a:t>RPJPN 2005-202</a:t>
            </a:r>
            <a:r>
              <a:rPr lang="id-ID" sz="2800" b="1" dirty="0">
                <a:solidFill>
                  <a:schemeClr val="accent5">
                    <a:lumMod val="25000"/>
                  </a:schemeClr>
                </a:solidFill>
                <a:latin typeface="Calibri" pitchFamily="34" charset="0"/>
                <a:cs typeface="Calibri" pitchFamily="34" charset="0"/>
              </a:rPr>
              <a:t>5</a:t>
            </a:r>
            <a:endParaRPr lang="id-ID" sz="2400" dirty="0" smtClean="0">
              <a:solidFill>
                <a:schemeClr val="accent5">
                  <a:lumMod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632658" y="3970803"/>
            <a:ext cx="1760957" cy="160972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/>
                </a:solidFill>
              </a:rPr>
              <a:t>Reformasi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dirty="0" err="1" smtClean="0">
                <a:solidFill>
                  <a:schemeClr val="tx1"/>
                </a:solidFill>
              </a:rPr>
              <a:t>Birokrasi</a:t>
            </a:r>
            <a:r>
              <a:rPr lang="en-US" b="1" dirty="0" smtClean="0">
                <a:solidFill>
                  <a:schemeClr val="tx1"/>
                </a:solidFill>
              </a:rPr>
              <a:t> &amp;</a:t>
            </a:r>
            <a:endParaRPr lang="en-US" b="1" dirty="0">
              <a:solidFill>
                <a:schemeClr val="tx1"/>
              </a:solidFill>
            </a:endParaRP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UU ASN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 rot="20896360">
            <a:off x="4404943" y="5500261"/>
            <a:ext cx="3297310" cy="42862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ilestones Pembangunan ASN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604499" y="4511955"/>
            <a:ext cx="1760957" cy="160972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 smtClean="0">
                <a:solidFill>
                  <a:schemeClr val="tx1"/>
                </a:solidFill>
              </a:rPr>
              <a:t>Good Governance</a:t>
            </a:r>
            <a:endParaRPr lang="en-US" i="1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60817" y="3476625"/>
            <a:ext cx="1760957" cy="1609726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 smtClean="0">
                <a:solidFill>
                  <a:schemeClr val="tx1"/>
                </a:solidFill>
              </a:rPr>
              <a:t>SMART </a:t>
            </a:r>
            <a:r>
              <a:rPr lang="en-US" dirty="0" smtClean="0">
                <a:solidFill>
                  <a:schemeClr val="tx1"/>
                </a:solidFill>
              </a:rPr>
              <a:t>AS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698995" y="3069571"/>
            <a:ext cx="1760957" cy="160972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SN</a:t>
            </a:r>
          </a:p>
          <a:p>
            <a:pPr algn="ctr"/>
            <a:r>
              <a:rPr lang="en-US" i="1" dirty="0" smtClean="0">
                <a:solidFill>
                  <a:schemeClr val="tx1"/>
                </a:solidFill>
              </a:rPr>
              <a:t>Human Capital</a:t>
            </a:r>
            <a:endParaRPr lang="en-US" i="1" dirty="0">
              <a:solidFill>
                <a:schemeClr val="tx1"/>
              </a:solidFill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 flipV="1">
            <a:off x="2958353" y="4929819"/>
            <a:ext cx="5501599" cy="1188802"/>
          </a:xfrm>
          <a:prstGeom prst="straightConnector1">
            <a:avLst/>
          </a:prstGeom>
          <a:ln w="28575">
            <a:prstDash val="sysDash"/>
            <a:headEnd type="none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2027385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Oval 47"/>
          <p:cNvSpPr/>
          <p:nvPr/>
        </p:nvSpPr>
        <p:spPr>
          <a:xfrm>
            <a:off x="6982337" y="2431538"/>
            <a:ext cx="1324691" cy="1334873"/>
          </a:xfrm>
          <a:prstGeom prst="ellipse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grpSp>
        <p:nvGrpSpPr>
          <p:cNvPr id="29" name="Group 28"/>
          <p:cNvGrpSpPr/>
          <p:nvPr/>
        </p:nvGrpSpPr>
        <p:grpSpPr>
          <a:xfrm>
            <a:off x="1056274" y="3901040"/>
            <a:ext cx="1152128" cy="1135715"/>
            <a:chOff x="1115616" y="1069149"/>
            <a:chExt cx="1152128" cy="1135715"/>
          </a:xfrm>
        </p:grpSpPr>
        <p:grpSp>
          <p:nvGrpSpPr>
            <p:cNvPr id="30" name="Group 29"/>
            <p:cNvGrpSpPr/>
            <p:nvPr/>
          </p:nvGrpSpPr>
          <p:grpSpPr>
            <a:xfrm>
              <a:off x="1115616" y="1069149"/>
              <a:ext cx="1152128" cy="1135715"/>
              <a:chOff x="4920617" y="1044634"/>
              <a:chExt cx="1975311" cy="1975101"/>
            </a:xfrm>
          </p:grpSpPr>
          <p:sp>
            <p:nvSpPr>
              <p:cNvPr id="32" name="Oval 31"/>
              <p:cNvSpPr/>
              <p:nvPr/>
            </p:nvSpPr>
            <p:spPr>
              <a:xfrm>
                <a:off x="4920617" y="1044634"/>
                <a:ext cx="1975311" cy="1975101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90000"/>
                </a:schemeClr>
              </a:solidFill>
              <a:ln w="38100">
                <a:solidFill>
                  <a:schemeClr val="tx2"/>
                </a:solidFill>
              </a:ln>
            </p:spPr>
            <p:style>
              <a:lnRef idx="2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3" name="Oval 5"/>
              <p:cNvSpPr/>
              <p:nvPr/>
            </p:nvSpPr>
            <p:spPr>
              <a:xfrm>
                <a:off x="5203001" y="1326845"/>
                <a:ext cx="1410543" cy="141068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57150" tIns="57150" rIns="57150" bIns="57150" numCol="1" spcCol="1270" anchor="ctr" anchorCtr="0">
                <a:noAutofit/>
              </a:bodyPr>
              <a:lstStyle/>
              <a:p>
                <a:pPr algn="ctr" defTabSz="2000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4500"/>
              </a:p>
            </p:txBody>
          </p:sp>
        </p:grpSp>
        <p:sp>
          <p:nvSpPr>
            <p:cNvPr id="31" name="Rectangle 30"/>
            <p:cNvSpPr/>
            <p:nvPr/>
          </p:nvSpPr>
          <p:spPr>
            <a:xfrm>
              <a:off x="1155935" y="1408146"/>
              <a:ext cx="1059060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2000" b="1" dirty="0"/>
                <a:t>NAWA CITA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77679" y="1124746"/>
            <a:ext cx="1152128" cy="1135715"/>
            <a:chOff x="1115616" y="1069149"/>
            <a:chExt cx="1152128" cy="1135715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42" name="Oval 41"/>
            <p:cNvSpPr/>
            <p:nvPr/>
          </p:nvSpPr>
          <p:spPr>
            <a:xfrm>
              <a:off x="1115616" y="1069149"/>
              <a:ext cx="1152128" cy="113571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1" name="Rectangle 40"/>
            <p:cNvSpPr/>
            <p:nvPr/>
          </p:nvSpPr>
          <p:spPr>
            <a:xfrm>
              <a:off x="1174816" y="1363289"/>
              <a:ext cx="1059060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050" dirty="0"/>
                <a:t>UU 17/2007</a:t>
              </a:r>
            </a:p>
            <a:p>
              <a:pPr algn="ctr">
                <a:lnSpc>
                  <a:spcPts val="1800"/>
                </a:lnSpc>
              </a:pPr>
              <a:r>
                <a:rPr lang="en-US" sz="2000" b="1" dirty="0"/>
                <a:t>RPJP</a:t>
              </a:r>
              <a:endParaRPr lang="en-US" sz="1400" b="1" dirty="0"/>
            </a:p>
          </p:txBody>
        </p:sp>
      </p:grpSp>
      <p:sp>
        <p:nvSpPr>
          <p:cNvPr id="5" name="Bent Arrow 4"/>
          <p:cNvSpPr/>
          <p:nvPr/>
        </p:nvSpPr>
        <p:spPr>
          <a:xfrm rot="5400000">
            <a:off x="2493782" y="1353420"/>
            <a:ext cx="505708" cy="924042"/>
          </a:xfrm>
          <a:prstGeom prst="ben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2" name="Right Arrow 51"/>
          <p:cNvSpPr/>
          <p:nvPr/>
        </p:nvSpPr>
        <p:spPr>
          <a:xfrm>
            <a:off x="2284617" y="2978014"/>
            <a:ext cx="188719" cy="227592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ight Arrow 54"/>
          <p:cNvSpPr/>
          <p:nvPr/>
        </p:nvSpPr>
        <p:spPr>
          <a:xfrm>
            <a:off x="4549017" y="2958169"/>
            <a:ext cx="188719" cy="227592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ight Arrow 56"/>
          <p:cNvSpPr/>
          <p:nvPr/>
        </p:nvSpPr>
        <p:spPr>
          <a:xfrm>
            <a:off x="6345584" y="2985177"/>
            <a:ext cx="600805" cy="20058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/>
        </p:nvSpPr>
        <p:spPr>
          <a:xfrm>
            <a:off x="785352" y="331577"/>
            <a:ext cx="778945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/>
              <a:t>GRAND DESIGN REFORMASI BIROKRASI 2015-2025</a:t>
            </a:r>
          </a:p>
        </p:txBody>
      </p:sp>
      <p:grpSp>
        <p:nvGrpSpPr>
          <p:cNvPr id="66" name="Group 65"/>
          <p:cNvGrpSpPr/>
          <p:nvPr/>
        </p:nvGrpSpPr>
        <p:grpSpPr>
          <a:xfrm>
            <a:off x="2518970" y="2084417"/>
            <a:ext cx="1975311" cy="1975101"/>
            <a:chOff x="3046009" y="2493548"/>
            <a:chExt cx="1975311" cy="1975101"/>
          </a:xfrm>
        </p:grpSpPr>
        <p:grpSp>
          <p:nvGrpSpPr>
            <p:cNvPr id="35" name="Group 34"/>
            <p:cNvGrpSpPr/>
            <p:nvPr/>
          </p:nvGrpSpPr>
          <p:grpSpPr>
            <a:xfrm>
              <a:off x="3046009" y="2493548"/>
              <a:ext cx="1975311" cy="1975101"/>
              <a:chOff x="547106" y="1044634"/>
              <a:chExt cx="1975311" cy="1975101"/>
            </a:xfrm>
          </p:grpSpPr>
          <p:sp>
            <p:nvSpPr>
              <p:cNvPr id="36" name="Oval 35"/>
              <p:cNvSpPr/>
              <p:nvPr/>
            </p:nvSpPr>
            <p:spPr>
              <a:xfrm>
                <a:off x="547106" y="1044634"/>
                <a:ext cx="1975311" cy="1975101"/>
              </a:xfrm>
              <a:prstGeom prst="ellipse">
                <a:avLst/>
              </a:prstGeom>
              <a:solidFill>
                <a:schemeClr val="accent5">
                  <a:lumMod val="75000"/>
                  <a:alpha val="90000"/>
                </a:schemeClr>
              </a:solidFill>
              <a:ln w="38100">
                <a:solidFill>
                  <a:schemeClr val="tx2"/>
                </a:solidFill>
              </a:ln>
            </p:spPr>
            <p:style>
              <a:lnRef idx="2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anchor="ctr"/>
              <a:lstStyle/>
              <a:p>
                <a:pPr algn="ctr"/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7" name="Oval 5"/>
              <p:cNvSpPr/>
              <p:nvPr/>
            </p:nvSpPr>
            <p:spPr>
              <a:xfrm>
                <a:off x="829490" y="1326845"/>
                <a:ext cx="1410543" cy="141068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57150" tIns="57150" rIns="57150" bIns="57150" numCol="1" spcCol="1270" anchor="ctr" anchorCtr="0">
                <a:noAutofit/>
              </a:bodyPr>
              <a:lstStyle/>
              <a:p>
                <a:pPr algn="ctr" defTabSz="2000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4500"/>
              </a:p>
            </p:txBody>
          </p:sp>
        </p:grpSp>
        <p:sp>
          <p:nvSpPr>
            <p:cNvPr id="63" name="Rectangle 62"/>
            <p:cNvSpPr/>
            <p:nvPr/>
          </p:nvSpPr>
          <p:spPr>
            <a:xfrm>
              <a:off x="3066367" y="2945052"/>
              <a:ext cx="1912003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KEBIJAKAN REFORMASI BIROKRASI</a:t>
              </a: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4790346" y="2336730"/>
            <a:ext cx="1495355" cy="1495092"/>
            <a:chOff x="5317385" y="2745863"/>
            <a:chExt cx="1495355" cy="1495092"/>
          </a:xfrm>
        </p:grpSpPr>
        <p:grpSp>
          <p:nvGrpSpPr>
            <p:cNvPr id="45" name="Group 44"/>
            <p:cNvGrpSpPr/>
            <p:nvPr/>
          </p:nvGrpSpPr>
          <p:grpSpPr>
            <a:xfrm>
              <a:off x="5317385" y="2745863"/>
              <a:ext cx="1495355" cy="1495092"/>
              <a:chOff x="439669" y="1284594"/>
              <a:chExt cx="1495355" cy="1495092"/>
            </a:xfrm>
          </p:grpSpPr>
          <p:sp>
            <p:nvSpPr>
              <p:cNvPr id="46" name="Oval 45"/>
              <p:cNvSpPr/>
              <p:nvPr/>
            </p:nvSpPr>
            <p:spPr>
              <a:xfrm>
                <a:off x="439669" y="1284594"/>
                <a:ext cx="1495355" cy="1495092"/>
              </a:xfrm>
              <a:prstGeom prst="ellipse">
                <a:avLst/>
              </a:prstGeom>
              <a:solidFill>
                <a:schemeClr val="accent5">
                  <a:lumMod val="75000"/>
                  <a:alpha val="90000"/>
                </a:schemeClr>
              </a:solidFill>
              <a:ln w="38100">
                <a:solidFill>
                  <a:schemeClr val="tx2"/>
                </a:solidFill>
              </a:ln>
            </p:spPr>
            <p:style>
              <a:lnRef idx="2">
                <a:schemeClr val="accent5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7" name="Oval 5"/>
              <p:cNvSpPr/>
              <p:nvPr/>
            </p:nvSpPr>
            <p:spPr>
              <a:xfrm>
                <a:off x="653291" y="1498219"/>
                <a:ext cx="1068110" cy="106784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3180" tIns="43180" rIns="43180" bIns="43180" numCol="1" spcCol="1270" anchor="ctr" anchorCtr="0">
                <a:noAutofit/>
              </a:bodyPr>
              <a:lstStyle/>
              <a:p>
                <a:pPr algn="ctr" defTabSz="1511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3400"/>
              </a:p>
            </p:txBody>
          </p:sp>
        </p:grpSp>
        <p:sp>
          <p:nvSpPr>
            <p:cNvPr id="64" name="Rectangle 63"/>
            <p:cNvSpPr/>
            <p:nvPr/>
          </p:nvSpPr>
          <p:spPr>
            <a:xfrm>
              <a:off x="5459015" y="3108528"/>
              <a:ext cx="1228981" cy="784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b="1" dirty="0">
                  <a:solidFill>
                    <a:schemeClr val="bg1"/>
                  </a:solidFill>
                </a:rPr>
                <a:t>STRATEGI DAN PROGRAM</a:t>
              </a:r>
            </a:p>
          </p:txBody>
        </p:sp>
      </p:grpSp>
      <p:sp>
        <p:nvSpPr>
          <p:cNvPr id="67" name="Rectangle 66"/>
          <p:cNvSpPr/>
          <p:nvPr/>
        </p:nvSpPr>
        <p:spPr>
          <a:xfrm>
            <a:off x="7018282" y="2777828"/>
            <a:ext cx="125279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sz="2400" b="1" dirty="0">
                <a:solidFill>
                  <a:schemeClr val="bg1"/>
                </a:solidFill>
              </a:rPr>
              <a:t>SMART ASN</a:t>
            </a:r>
          </a:p>
        </p:txBody>
      </p:sp>
      <p:grpSp>
        <p:nvGrpSpPr>
          <p:cNvPr id="73" name="Group 72"/>
          <p:cNvGrpSpPr/>
          <p:nvPr/>
        </p:nvGrpSpPr>
        <p:grpSpPr>
          <a:xfrm>
            <a:off x="0" y="5982949"/>
            <a:ext cx="9144000" cy="875053"/>
            <a:chOff x="0" y="5982947"/>
            <a:chExt cx="9144000" cy="875053"/>
          </a:xfrm>
        </p:grpSpPr>
        <p:grpSp>
          <p:nvGrpSpPr>
            <p:cNvPr id="69" name="Group 68"/>
            <p:cNvGrpSpPr/>
            <p:nvPr/>
          </p:nvGrpSpPr>
          <p:grpSpPr>
            <a:xfrm>
              <a:off x="0" y="6225989"/>
              <a:ext cx="9144000" cy="632011"/>
              <a:chOff x="-1" y="4780006"/>
              <a:chExt cx="9366882" cy="672012"/>
            </a:xfrm>
          </p:grpSpPr>
          <p:pic>
            <p:nvPicPr>
              <p:cNvPr id="70" name="Picture 69"/>
              <p:cNvPicPr>
                <a:picLocks noChangeAspect="1"/>
              </p:cNvPicPr>
              <p:nvPr/>
            </p:nvPicPr>
            <p:blipFill rotWithShape="1"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38678" b="41490"/>
              <a:stretch>
                <a:fillRect/>
              </a:stretch>
            </p:blipFill>
            <p:spPr>
              <a:xfrm>
                <a:off x="-1" y="4780006"/>
                <a:ext cx="5341729" cy="672012"/>
              </a:xfrm>
              <a:prstGeom prst="rect">
                <a:avLst/>
              </a:prstGeom>
            </p:spPr>
          </p:pic>
          <p:pic>
            <p:nvPicPr>
              <p:cNvPr id="71" name="Picture 70"/>
              <p:cNvPicPr>
                <a:picLocks noChangeAspect="1"/>
              </p:cNvPicPr>
              <p:nvPr/>
            </p:nvPicPr>
            <p:blipFill rotWithShape="1"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38678" b="41490"/>
              <a:stretch>
                <a:fillRect/>
              </a:stretch>
            </p:blipFill>
            <p:spPr>
              <a:xfrm>
                <a:off x="4025152" y="4780006"/>
                <a:ext cx="5341729" cy="672011"/>
              </a:xfrm>
              <a:prstGeom prst="rect">
                <a:avLst/>
              </a:prstGeom>
            </p:spPr>
          </p:pic>
        </p:grpSp>
        <p:pic>
          <p:nvPicPr>
            <p:cNvPr id="72" name="Picture 3" descr="Logo Kemenpan2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329" y="5982947"/>
              <a:ext cx="633271" cy="830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5" name="Group 84"/>
          <p:cNvGrpSpPr/>
          <p:nvPr/>
        </p:nvGrpSpPr>
        <p:grpSpPr>
          <a:xfrm>
            <a:off x="1043608" y="2520849"/>
            <a:ext cx="1152128" cy="1135715"/>
            <a:chOff x="1115616" y="1069149"/>
            <a:chExt cx="1152128" cy="1135715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86" name="Oval 85"/>
            <p:cNvSpPr/>
            <p:nvPr/>
          </p:nvSpPr>
          <p:spPr>
            <a:xfrm>
              <a:off x="1115616" y="1069149"/>
              <a:ext cx="1152128" cy="113571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7" name="Rectangle 86"/>
            <p:cNvSpPr/>
            <p:nvPr/>
          </p:nvSpPr>
          <p:spPr>
            <a:xfrm>
              <a:off x="1174816" y="1363289"/>
              <a:ext cx="1059060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n-US" sz="1100" dirty="0"/>
                <a:t>UU 5/2014</a:t>
              </a:r>
            </a:p>
            <a:p>
              <a:pPr algn="ctr">
                <a:lnSpc>
                  <a:spcPts val="1800"/>
                </a:lnSpc>
              </a:pPr>
              <a:r>
                <a:rPr lang="en-US" sz="2000" b="1" dirty="0" smtClean="0"/>
                <a:t>ASN</a:t>
              </a:r>
              <a:endParaRPr lang="en-US" sz="1400" b="1" dirty="0"/>
            </a:p>
          </p:txBody>
        </p:sp>
      </p:grpSp>
      <p:sp>
        <p:nvSpPr>
          <p:cNvPr id="89" name="Bent Arrow 88"/>
          <p:cNvSpPr/>
          <p:nvPr/>
        </p:nvSpPr>
        <p:spPr>
          <a:xfrm rot="5400000" flipH="1">
            <a:off x="2488917" y="3851509"/>
            <a:ext cx="478700" cy="924042"/>
          </a:xfrm>
          <a:prstGeom prst="ben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6720334" y="3766409"/>
            <a:ext cx="184869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400" dirty="0">
                <a:ea typeface="Tahoma" panose="020B0604030504040204" pitchFamily="34" charset="0"/>
                <a:cs typeface="Tahoma" panose="020B0604030504040204" pitchFamily="34" charset="0"/>
              </a:rPr>
              <a:t>Birokrasi bersih, kompeten dan melayani</a:t>
            </a:r>
            <a:endParaRPr lang="id-ID" sz="1400" dirty="0"/>
          </a:p>
        </p:txBody>
      </p:sp>
      <p:cxnSp>
        <p:nvCxnSpPr>
          <p:cNvPr id="92" name="Straight Arrow Connector 91"/>
          <p:cNvCxnSpPr>
            <a:stCxn id="98" idx="4"/>
          </p:cNvCxnSpPr>
          <p:nvPr/>
        </p:nvCxnSpPr>
        <p:spPr>
          <a:xfrm flipV="1">
            <a:off x="3643101" y="4197971"/>
            <a:ext cx="1" cy="1250710"/>
          </a:xfrm>
          <a:prstGeom prst="straightConnector1">
            <a:avLst/>
          </a:prstGeom>
          <a:ln w="571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Oval 95"/>
          <p:cNvSpPr/>
          <p:nvPr/>
        </p:nvSpPr>
        <p:spPr>
          <a:xfrm>
            <a:off x="3548521" y="4701130"/>
            <a:ext cx="189156" cy="224162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tangle 96"/>
          <p:cNvSpPr/>
          <p:nvPr/>
        </p:nvSpPr>
        <p:spPr>
          <a:xfrm>
            <a:off x="3786076" y="4591088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-285750"/>
            <a:r>
              <a:rPr lang="en-US" sz="1200" dirty="0" err="1"/>
              <a:t>PermenPAN</a:t>
            </a:r>
            <a:r>
              <a:rPr lang="en-US" sz="1200" dirty="0"/>
              <a:t> 11/2015 ROADMAP RB 2015-2019</a:t>
            </a:r>
          </a:p>
          <a:p>
            <a:pPr indent="-285750"/>
            <a:r>
              <a:rPr lang="en-US" sz="1200" dirty="0"/>
              <a:t>(Operasionalisasi Grand Design Reformasi Birokrasi )</a:t>
            </a:r>
          </a:p>
        </p:txBody>
      </p:sp>
      <p:sp>
        <p:nvSpPr>
          <p:cNvPr id="98" name="Oval 97"/>
          <p:cNvSpPr/>
          <p:nvPr/>
        </p:nvSpPr>
        <p:spPr>
          <a:xfrm>
            <a:off x="3548521" y="5224519"/>
            <a:ext cx="189156" cy="224162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Rectangle 99"/>
          <p:cNvSpPr/>
          <p:nvPr/>
        </p:nvSpPr>
        <p:spPr>
          <a:xfrm>
            <a:off x="3786076" y="5160370"/>
            <a:ext cx="4572000" cy="443711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-285750">
              <a:lnSpc>
                <a:spcPts val="1300"/>
              </a:lnSpc>
            </a:pPr>
            <a:r>
              <a:rPr lang="en-US" sz="1200" dirty="0" err="1"/>
              <a:t>Perpres</a:t>
            </a:r>
            <a:r>
              <a:rPr lang="en-US" sz="1200" dirty="0"/>
              <a:t> 81/2010 GRAND DESIGN RB 2010-2025</a:t>
            </a:r>
          </a:p>
          <a:p>
            <a:pPr indent="-285750"/>
            <a:r>
              <a:rPr lang="en-US" sz="1200" dirty="0"/>
              <a:t>(</a:t>
            </a:r>
            <a:r>
              <a:rPr lang="en-US" sz="1200" dirty="0" err="1"/>
              <a:t>Rancangan</a:t>
            </a:r>
            <a:r>
              <a:rPr lang="en-US" sz="1200" dirty="0"/>
              <a:t> </a:t>
            </a:r>
            <a:r>
              <a:rPr lang="en-US" sz="1200" dirty="0" err="1"/>
              <a:t>Induk</a:t>
            </a:r>
            <a:r>
              <a:rPr lang="en-US" sz="1200" dirty="0"/>
              <a:t> </a:t>
            </a:r>
            <a:r>
              <a:rPr lang="en-US" sz="1200" dirty="0" err="1"/>
              <a:t>Pelaksanaan</a:t>
            </a:r>
            <a:r>
              <a:rPr lang="en-US" sz="1200" dirty="0"/>
              <a:t> </a:t>
            </a:r>
            <a:r>
              <a:rPr lang="en-US" sz="1200" dirty="0" err="1"/>
              <a:t>Reformasi</a:t>
            </a:r>
            <a:r>
              <a:rPr lang="en-US" sz="1200" dirty="0"/>
              <a:t> </a:t>
            </a:r>
            <a:r>
              <a:rPr lang="en-US" sz="1200" dirty="0" err="1"/>
              <a:t>Birokrasi</a:t>
            </a:r>
            <a:r>
              <a:rPr lang="en-US" sz="1200" dirty="0"/>
              <a:t> Nasional)</a:t>
            </a:r>
          </a:p>
        </p:txBody>
      </p:sp>
    </p:spTree>
    <p:extLst>
      <p:ext uri="{BB962C8B-B14F-4D97-AF65-F5344CB8AC3E}">
        <p14:creationId xmlns:p14="http://schemas.microsoft.com/office/powerpoint/2010/main" xmlns="" val="1593947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/>
        </p:nvGrpSpPr>
        <p:grpSpPr>
          <a:xfrm>
            <a:off x="0" y="3510308"/>
            <a:ext cx="9165875" cy="1806340"/>
            <a:chOff x="-24063" y="5334001"/>
            <a:chExt cx="10082463" cy="1524000"/>
          </a:xfrm>
          <a:solidFill>
            <a:schemeClr val="accent5"/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grpSpPr>
        <p:grpSp>
          <p:nvGrpSpPr>
            <p:cNvPr id="50" name="Group 49"/>
            <p:cNvGrpSpPr/>
            <p:nvPr/>
          </p:nvGrpSpPr>
          <p:grpSpPr>
            <a:xfrm>
              <a:off x="0" y="5334001"/>
              <a:ext cx="10058400" cy="1524000"/>
              <a:chOff x="0" y="5840185"/>
              <a:chExt cx="10058400" cy="1017815"/>
            </a:xfrm>
            <a:grpFill/>
          </p:grpSpPr>
          <p:sp>
            <p:nvSpPr>
              <p:cNvPr id="52" name="Rounded Rectangle 51"/>
              <p:cNvSpPr/>
              <p:nvPr/>
            </p:nvSpPr>
            <p:spPr>
              <a:xfrm>
                <a:off x="0" y="5840185"/>
                <a:ext cx="9139910" cy="101781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1636"/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0" y="6310214"/>
                <a:ext cx="10058400" cy="54778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1636"/>
              </a:p>
            </p:txBody>
          </p:sp>
        </p:grpSp>
        <p:sp>
          <p:nvSpPr>
            <p:cNvPr id="51" name="Rectangle 50"/>
            <p:cNvSpPr/>
            <p:nvPr/>
          </p:nvSpPr>
          <p:spPr>
            <a:xfrm>
              <a:off x="-24063" y="5897880"/>
              <a:ext cx="10058400" cy="96012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636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0" y="4326259"/>
            <a:ext cx="9165875" cy="1806340"/>
            <a:chOff x="-24063" y="5334001"/>
            <a:chExt cx="10082463" cy="1524000"/>
          </a:xfrm>
          <a:solidFill>
            <a:schemeClr val="accent1">
              <a:lumMod val="75000"/>
            </a:scheme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grpSpPr>
        <p:grpSp>
          <p:nvGrpSpPr>
            <p:cNvPr id="45" name="Group 44"/>
            <p:cNvGrpSpPr/>
            <p:nvPr/>
          </p:nvGrpSpPr>
          <p:grpSpPr>
            <a:xfrm>
              <a:off x="0" y="5334001"/>
              <a:ext cx="10058400" cy="1524000"/>
              <a:chOff x="0" y="5840185"/>
              <a:chExt cx="10058400" cy="1017815"/>
            </a:xfrm>
            <a:grpFill/>
          </p:grpSpPr>
          <p:sp>
            <p:nvSpPr>
              <p:cNvPr id="47" name="Rounded Rectangle 46"/>
              <p:cNvSpPr/>
              <p:nvPr/>
            </p:nvSpPr>
            <p:spPr>
              <a:xfrm>
                <a:off x="0" y="5840185"/>
                <a:ext cx="9139910" cy="101781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1636"/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0" y="6310214"/>
                <a:ext cx="10058400" cy="54778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1636"/>
              </a:p>
            </p:txBody>
          </p:sp>
        </p:grpSp>
        <p:sp>
          <p:nvSpPr>
            <p:cNvPr id="46" name="Rectangle 45"/>
            <p:cNvSpPr/>
            <p:nvPr/>
          </p:nvSpPr>
          <p:spPr>
            <a:xfrm>
              <a:off x="-24063" y="5897880"/>
              <a:ext cx="10058400" cy="96012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636"/>
            </a:p>
          </p:txBody>
        </p:sp>
      </p:grpSp>
      <p:sp>
        <p:nvSpPr>
          <p:cNvPr id="11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45524" y="2624243"/>
            <a:ext cx="8172738" cy="484909"/>
          </a:xfrm>
          <a:prstGeom prst="rect">
            <a:avLst/>
          </a:prstGeom>
        </p:spPr>
        <p:txBody>
          <a:bodyPr/>
          <a:lstStyle/>
          <a:p>
            <a:pPr eaLnBrk="0" hangingPunct="0">
              <a:defRPr/>
            </a:pPr>
            <a:r>
              <a:rPr lang="id-ID" sz="3600" b="1" smtClean="0">
                <a:solidFill>
                  <a:schemeClr val="tx1">
                    <a:lumMod val="65000"/>
                    <a:lumOff val="35000"/>
                  </a:schemeClr>
                </a:solidFill>
                <a:ea typeface="+mj-ea"/>
                <a:cs typeface="Arial" pitchFamily="34" charset="0"/>
              </a:rPr>
              <a:t>KERANGKA PAPARAN</a:t>
            </a:r>
            <a:endParaRPr lang="id-ID" sz="2000" b="1">
              <a:solidFill>
                <a:schemeClr val="tx1">
                  <a:lumMod val="65000"/>
                  <a:lumOff val="35000"/>
                </a:schemeClr>
              </a:solidFill>
              <a:ea typeface="+mj-ea"/>
              <a:cs typeface="Arial" pitchFamily="34" charset="0"/>
            </a:endParaRPr>
          </a:p>
        </p:txBody>
      </p: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545524" y="3423522"/>
            <a:ext cx="6966238" cy="6718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id-ID" sz="2800" b="1" smtClean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1. Tantangan Birokrasi</a:t>
            </a:r>
            <a:endParaRPr lang="id-ID" sz="2800" b="1" i="1">
              <a:solidFill>
                <a:schemeClr val="bg1">
                  <a:lumMod val="85000"/>
                </a:schemeClr>
              </a:solidFill>
              <a:cs typeface="Arial" pitchFamily="34" charset="0"/>
            </a:endParaRPr>
          </a:p>
        </p:txBody>
      </p:sp>
      <p:sp>
        <p:nvSpPr>
          <p:cNvPr id="18" name="Text Box 12"/>
          <p:cNvSpPr txBox="1">
            <a:spLocks noChangeArrowheads="1"/>
          </p:cNvSpPr>
          <p:nvPr/>
        </p:nvSpPr>
        <p:spPr bwMode="auto">
          <a:xfrm>
            <a:off x="545524" y="4218152"/>
            <a:ext cx="7338844" cy="6718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id-ID" sz="2800" b="1" smtClean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2. Arah Pengembangan ASN</a:t>
            </a:r>
            <a:endParaRPr lang="id-ID" sz="2800" b="1">
              <a:solidFill>
                <a:schemeClr val="bg1">
                  <a:lumMod val="85000"/>
                </a:schemeClr>
              </a:solidFill>
              <a:cs typeface="Arial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-4067" y="5073211"/>
            <a:ext cx="9165875" cy="1806340"/>
            <a:chOff x="-24063" y="5334001"/>
            <a:chExt cx="10082463" cy="1524000"/>
          </a:xfrm>
          <a:solidFill>
            <a:srgbClr val="002060"/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grpSpPr>
        <p:grpSp>
          <p:nvGrpSpPr>
            <p:cNvPr id="5" name="Group 4"/>
            <p:cNvGrpSpPr/>
            <p:nvPr/>
          </p:nvGrpSpPr>
          <p:grpSpPr>
            <a:xfrm>
              <a:off x="0" y="5334001"/>
              <a:ext cx="10058400" cy="1524000"/>
              <a:chOff x="0" y="5840185"/>
              <a:chExt cx="10058400" cy="1017815"/>
            </a:xfrm>
            <a:grpFill/>
          </p:grpSpPr>
          <p:sp>
            <p:nvSpPr>
              <p:cNvPr id="2" name="Rounded Rectangle 1"/>
              <p:cNvSpPr/>
              <p:nvPr/>
            </p:nvSpPr>
            <p:spPr>
              <a:xfrm>
                <a:off x="0" y="5840185"/>
                <a:ext cx="9139910" cy="101781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1636"/>
              </a:p>
            </p:txBody>
          </p:sp>
          <p:sp>
            <p:nvSpPr>
              <p:cNvPr id="3" name="Rectangle 2"/>
              <p:cNvSpPr/>
              <p:nvPr/>
            </p:nvSpPr>
            <p:spPr>
              <a:xfrm>
                <a:off x="0" y="6310214"/>
                <a:ext cx="10058400" cy="54778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sz="1636"/>
              </a:p>
            </p:txBody>
          </p:sp>
        </p:grpSp>
        <p:sp>
          <p:nvSpPr>
            <p:cNvPr id="6" name="Rectangle 5"/>
            <p:cNvSpPr/>
            <p:nvPr/>
          </p:nvSpPr>
          <p:spPr>
            <a:xfrm>
              <a:off x="-24063" y="5897880"/>
              <a:ext cx="10058400" cy="96012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636"/>
            </a:p>
          </p:txBody>
        </p:sp>
      </p:grpSp>
      <p:sp>
        <p:nvSpPr>
          <p:cNvPr id="38" name="Text Box 12"/>
          <p:cNvSpPr txBox="1">
            <a:spLocks noChangeArrowheads="1"/>
          </p:cNvSpPr>
          <p:nvPr/>
        </p:nvSpPr>
        <p:spPr bwMode="auto">
          <a:xfrm>
            <a:off x="578428" y="4980580"/>
            <a:ext cx="6966238" cy="13849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id-ID" sz="2800" b="1" dirty="0" smtClean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3. Kebijakan tentang ASN, </a:t>
            </a:r>
            <a:r>
              <a:rPr lang="en-US" sz="2800" b="1" dirty="0" err="1" smtClean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Peran</a:t>
            </a:r>
            <a:r>
              <a:rPr lang="en-US" sz="2800" b="1" dirty="0" smtClean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 </a:t>
            </a:r>
            <a:r>
              <a:rPr lang="en-US" sz="2800" b="1" dirty="0" err="1" smtClean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Jabatan</a:t>
            </a:r>
            <a:r>
              <a:rPr lang="en-US" sz="2800" b="1" dirty="0" smtClean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 </a:t>
            </a:r>
            <a:r>
              <a:rPr lang="en-US" sz="2800" b="1" dirty="0" err="1" smtClean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Fungsional</a:t>
            </a:r>
            <a:endParaRPr lang="id-ID" sz="2800" b="1" dirty="0">
              <a:solidFill>
                <a:schemeClr val="bg1">
                  <a:lumMod val="85000"/>
                </a:schemeClr>
              </a:solidFill>
              <a:cs typeface="Arial" pitchFamily="34" charset="0"/>
            </a:endParaRPr>
          </a:p>
        </p:txBody>
      </p:sp>
      <p:pic>
        <p:nvPicPr>
          <p:cNvPr id="21" name="Picture 3" descr="Logo Kemenpan2.png"/>
          <p:cNvPicPr>
            <a:picLocks noChangeAspect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128284" y="332656"/>
            <a:ext cx="1512168" cy="211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2016548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2"/>
          <p:cNvSpPr>
            <a:spLocks noGrp="1"/>
          </p:cNvSpPr>
          <p:nvPr>
            <p:ph type="title" idx="4294967295"/>
          </p:nvPr>
        </p:nvSpPr>
        <p:spPr>
          <a:xfrm>
            <a:off x="467544" y="332656"/>
            <a:ext cx="4896544" cy="762000"/>
          </a:xfrm>
        </p:spPr>
        <p:txBody>
          <a:bodyPr>
            <a:noAutofit/>
          </a:bodyPr>
          <a:lstStyle/>
          <a:p>
            <a:pPr marL="53975" indent="-53975" algn="l"/>
            <a:r>
              <a:rPr lang="id-ID" sz="2800" dirty="0" smtClean="0">
                <a:latin typeface="+mn-lt"/>
                <a:cs typeface="Arial" pitchFamily="34" charset="0"/>
              </a:rPr>
              <a:t>TRANSFORMASI </a:t>
            </a:r>
            <a:r>
              <a:rPr lang="en-US" sz="2800" dirty="0" smtClean="0">
                <a:latin typeface="+mn-lt"/>
                <a:cs typeface="Arial" pitchFamily="34" charset="0"/>
              </a:rPr>
              <a:t>B</a:t>
            </a:r>
            <a:r>
              <a:rPr lang="id-ID" sz="2800" dirty="0" smtClean="0">
                <a:latin typeface="+mn-lt"/>
                <a:cs typeface="Arial" pitchFamily="34" charset="0"/>
              </a:rPr>
              <a:t>IROKRAS</a:t>
            </a:r>
            <a:r>
              <a:rPr lang="en-US" sz="2800" dirty="0" smtClean="0">
                <a:latin typeface="+mn-lt"/>
                <a:cs typeface="Arial" pitchFamily="34" charset="0"/>
              </a:rPr>
              <a:t>I &amp;</a:t>
            </a:r>
          </a:p>
        </p:txBody>
      </p:sp>
      <p:sp>
        <p:nvSpPr>
          <p:cNvPr id="10" name="Shape 9"/>
          <p:cNvSpPr/>
          <p:nvPr/>
        </p:nvSpPr>
        <p:spPr>
          <a:xfrm>
            <a:off x="350838" y="1981985"/>
            <a:ext cx="6572250" cy="4114800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FFC000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Oval 10"/>
          <p:cNvSpPr>
            <a:spLocks noChangeArrowheads="1"/>
          </p:cNvSpPr>
          <p:nvPr/>
        </p:nvSpPr>
        <p:spPr bwMode="auto">
          <a:xfrm>
            <a:off x="1130301" y="4906159"/>
            <a:ext cx="195262" cy="195263"/>
          </a:xfrm>
          <a:prstGeom prst="ellipse">
            <a:avLst/>
          </a:prstGeom>
          <a:solidFill>
            <a:srgbClr val="76C5EF"/>
          </a:solidFill>
          <a:ln w="38100">
            <a:solidFill>
              <a:srgbClr val="FFFFF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id-ID"/>
          </a:p>
        </p:txBody>
      </p:sp>
      <p:sp>
        <p:nvSpPr>
          <p:cNvPr id="12" name="Freeform 11"/>
          <p:cNvSpPr/>
          <p:nvPr/>
        </p:nvSpPr>
        <p:spPr>
          <a:xfrm>
            <a:off x="1036638" y="5334784"/>
            <a:ext cx="1743075" cy="533400"/>
          </a:xfrm>
          <a:custGeom>
            <a:avLst/>
            <a:gdLst>
              <a:gd name="connsiteX0" fmla="*/ 0 w 1744093"/>
              <a:gd name="connsiteY0" fmla="*/ 0 h 1352046"/>
              <a:gd name="connsiteX1" fmla="*/ 1744093 w 1744093"/>
              <a:gd name="connsiteY1" fmla="*/ 0 h 1352046"/>
              <a:gd name="connsiteX2" fmla="*/ 1744093 w 1744093"/>
              <a:gd name="connsiteY2" fmla="*/ 1352046 h 1352046"/>
              <a:gd name="connsiteX3" fmla="*/ 0 w 1744093"/>
              <a:gd name="connsiteY3" fmla="*/ 1352046 h 1352046"/>
              <a:gd name="connsiteX4" fmla="*/ 0 w 1744093"/>
              <a:gd name="connsiteY4" fmla="*/ 0 h 1352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4093" h="1352046">
                <a:moveTo>
                  <a:pt x="0" y="0"/>
                </a:moveTo>
                <a:lnTo>
                  <a:pt x="1744093" y="0"/>
                </a:lnTo>
                <a:lnTo>
                  <a:pt x="1744093" y="1352046"/>
                </a:lnTo>
                <a:lnTo>
                  <a:pt x="0" y="135204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125" tIns="0" rIns="0" bIns="0" spcCol="1270"/>
          <a:lstStyle/>
          <a:p>
            <a:pPr defTabSz="10668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dirty="0" smtClean="0"/>
              <a:t>RULE BASED BUREAUCRACY</a:t>
            </a:r>
            <a:endParaRPr lang="en-US" dirty="0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2847976" y="3634572"/>
            <a:ext cx="352425" cy="352425"/>
          </a:xfrm>
          <a:prstGeom prst="ellipse">
            <a:avLst/>
          </a:prstGeom>
          <a:solidFill>
            <a:srgbClr val="76C5EF"/>
          </a:solidFill>
          <a:ln w="38100">
            <a:solidFill>
              <a:srgbClr val="FFFFF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id-ID"/>
          </a:p>
        </p:txBody>
      </p:sp>
      <p:sp>
        <p:nvSpPr>
          <p:cNvPr id="14" name="Freeform 13"/>
          <p:cNvSpPr/>
          <p:nvPr/>
        </p:nvSpPr>
        <p:spPr>
          <a:xfrm>
            <a:off x="2484438" y="4344184"/>
            <a:ext cx="3108325" cy="685800"/>
          </a:xfrm>
          <a:custGeom>
            <a:avLst/>
            <a:gdLst>
              <a:gd name="connsiteX0" fmla="*/ 0 w 1796491"/>
              <a:gd name="connsiteY0" fmla="*/ 0 h 2545029"/>
              <a:gd name="connsiteX1" fmla="*/ 1796491 w 1796491"/>
              <a:gd name="connsiteY1" fmla="*/ 0 h 2545029"/>
              <a:gd name="connsiteX2" fmla="*/ 1796491 w 1796491"/>
              <a:gd name="connsiteY2" fmla="*/ 2545029 h 2545029"/>
              <a:gd name="connsiteX3" fmla="*/ 0 w 1796491"/>
              <a:gd name="connsiteY3" fmla="*/ 2545029 h 2545029"/>
              <a:gd name="connsiteX4" fmla="*/ 0 w 1796491"/>
              <a:gd name="connsiteY4" fmla="*/ 0 h 2545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6491" h="2545029">
                <a:moveTo>
                  <a:pt x="0" y="0"/>
                </a:moveTo>
                <a:lnTo>
                  <a:pt x="1796491" y="0"/>
                </a:lnTo>
                <a:lnTo>
                  <a:pt x="1796491" y="2545029"/>
                </a:lnTo>
                <a:lnTo>
                  <a:pt x="0" y="254502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86418" tIns="0" rIns="0" bIns="0" spcCol="1270"/>
          <a:lstStyle/>
          <a:p>
            <a:pPr defTabSz="10668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dirty="0" smtClean="0"/>
              <a:t>PERFORMANCE BASED BUREAUCRACY</a:t>
            </a:r>
            <a:endParaRPr lang="en-US" dirty="0"/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4914901" y="2861459"/>
            <a:ext cx="485775" cy="485775"/>
          </a:xfrm>
          <a:prstGeom prst="ellipse">
            <a:avLst/>
          </a:prstGeom>
          <a:solidFill>
            <a:srgbClr val="76C5EF"/>
          </a:solidFill>
          <a:ln w="38100">
            <a:solidFill>
              <a:srgbClr val="FFFFF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id-ID"/>
          </a:p>
        </p:txBody>
      </p:sp>
      <p:sp>
        <p:nvSpPr>
          <p:cNvPr id="16" name="Freeform 15"/>
          <p:cNvSpPr/>
          <p:nvPr/>
        </p:nvSpPr>
        <p:spPr>
          <a:xfrm>
            <a:off x="4725988" y="3658384"/>
            <a:ext cx="1797050" cy="563562"/>
          </a:xfrm>
          <a:custGeom>
            <a:avLst/>
            <a:gdLst>
              <a:gd name="connsiteX0" fmla="*/ 0 w 1796491"/>
              <a:gd name="connsiteY0" fmla="*/ 0 h 3251462"/>
              <a:gd name="connsiteX1" fmla="*/ 1796491 w 1796491"/>
              <a:gd name="connsiteY1" fmla="*/ 0 h 3251462"/>
              <a:gd name="connsiteX2" fmla="*/ 1796491 w 1796491"/>
              <a:gd name="connsiteY2" fmla="*/ 3251462 h 3251462"/>
              <a:gd name="connsiteX3" fmla="*/ 0 w 1796491"/>
              <a:gd name="connsiteY3" fmla="*/ 3251462 h 3251462"/>
              <a:gd name="connsiteX4" fmla="*/ 0 w 1796491"/>
              <a:gd name="connsiteY4" fmla="*/ 0 h 325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6491" h="3251462">
                <a:moveTo>
                  <a:pt x="0" y="0"/>
                </a:moveTo>
                <a:lnTo>
                  <a:pt x="1796491" y="0"/>
                </a:lnTo>
                <a:lnTo>
                  <a:pt x="1796491" y="3251462"/>
                </a:lnTo>
                <a:lnTo>
                  <a:pt x="0" y="325146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257813" tIns="0" rIns="0" bIns="0" spcCol="1270"/>
          <a:lstStyle/>
          <a:p>
            <a:pPr defTabSz="10668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dirty="0" smtClean="0"/>
              <a:t>DYNAMIC GOVERNANCE</a:t>
            </a:r>
            <a:endParaRPr lang="en-US" dirty="0"/>
          </a:p>
        </p:txBody>
      </p:sp>
      <p:sp>
        <p:nvSpPr>
          <p:cNvPr id="24586" name="TextBox 5"/>
          <p:cNvSpPr txBox="1">
            <a:spLocks noChangeArrowheads="1"/>
          </p:cNvSpPr>
          <p:nvPr/>
        </p:nvSpPr>
        <p:spPr bwMode="auto">
          <a:xfrm>
            <a:off x="304800" y="4415621"/>
            <a:ext cx="80803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/>
              <a:t>2013 </a:t>
            </a:r>
          </a:p>
        </p:txBody>
      </p:sp>
      <p:sp>
        <p:nvSpPr>
          <p:cNvPr id="24587" name="TextBox 6"/>
          <p:cNvSpPr txBox="1">
            <a:spLocks noChangeArrowheads="1"/>
          </p:cNvSpPr>
          <p:nvPr/>
        </p:nvSpPr>
        <p:spPr bwMode="auto">
          <a:xfrm>
            <a:off x="2322513" y="2967821"/>
            <a:ext cx="80803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dirty="0"/>
              <a:t>2018</a:t>
            </a:r>
          </a:p>
        </p:txBody>
      </p:sp>
      <p:sp>
        <p:nvSpPr>
          <p:cNvPr id="24588" name="TextBox 7"/>
          <p:cNvSpPr txBox="1">
            <a:spLocks noChangeArrowheads="1"/>
          </p:cNvSpPr>
          <p:nvPr/>
        </p:nvSpPr>
        <p:spPr bwMode="auto">
          <a:xfrm>
            <a:off x="4572000" y="2205821"/>
            <a:ext cx="80803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dirty="0"/>
              <a:t>2025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112838" y="5868184"/>
            <a:ext cx="2017713" cy="64633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ADMINISTRASI </a:t>
            </a:r>
          </a:p>
          <a:p>
            <a:pPr algn="ctr"/>
            <a:r>
              <a:rPr lang="en-US" b="1" dirty="0" smtClean="0">
                <a:solidFill>
                  <a:schemeClr val="bg1"/>
                </a:solidFill>
              </a:rPr>
              <a:t>KEPEGAWAIAN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627784" y="4855911"/>
            <a:ext cx="2100982" cy="64633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MANAJEMEN </a:t>
            </a:r>
          </a:p>
          <a:p>
            <a:pPr algn="ctr"/>
            <a:r>
              <a:rPr lang="en-US" b="1" dirty="0" smtClean="0">
                <a:solidFill>
                  <a:schemeClr val="bg1"/>
                </a:solidFill>
              </a:rPr>
              <a:t>SDM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01270" y="4198547"/>
            <a:ext cx="1962910" cy="92333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PENGEMBANGAN POTENSI </a:t>
            </a:r>
            <a:r>
              <a:rPr lang="en-US" b="1" i="1" dirty="0" smtClean="0">
                <a:solidFill>
                  <a:schemeClr val="bg1"/>
                </a:solidFill>
              </a:rPr>
              <a:t>HUMAN CAPITAL</a:t>
            </a:r>
            <a:endParaRPr lang="en-US" b="1" i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83310" y="950640"/>
            <a:ext cx="4952786" cy="52322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chemeClr val="bg1"/>
                </a:solidFill>
              </a:rPr>
              <a:t>PENGELOLAAN SDM APARATUR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6964180" y="1772816"/>
            <a:ext cx="2133600" cy="2077403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f-ZA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BIROKRASI </a:t>
            </a:r>
            <a:r>
              <a:rPr lang="af-ZA" b="1" dirty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BERSIH, KOMPETEN DAN MELAYANI</a:t>
            </a:r>
            <a:endParaRPr lang="id-ID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009250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400">
        <p14:ripple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val 13"/>
          <p:cNvSpPr/>
          <p:nvPr/>
        </p:nvSpPr>
        <p:spPr>
          <a:xfrm>
            <a:off x="251520" y="2757121"/>
            <a:ext cx="1728192" cy="1679991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 smtClean="0">
                <a:solidFill>
                  <a:schemeClr val="tx1"/>
                </a:solidFill>
              </a:rPr>
              <a:t>BIROKRASI EKSISTING</a:t>
            </a:r>
            <a:endParaRPr lang="id-ID" b="1" dirty="0">
              <a:solidFill>
                <a:schemeClr val="tx1"/>
              </a:solidFill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1979712" y="3157243"/>
            <a:ext cx="4896544" cy="847437"/>
          </a:xfrm>
          <a:custGeom>
            <a:avLst/>
            <a:gdLst>
              <a:gd name="connsiteX0" fmla="*/ 0 w 4890655"/>
              <a:gd name="connsiteY0" fmla="*/ 413328 h 847437"/>
              <a:gd name="connsiteX1" fmla="*/ 207818 w 4890655"/>
              <a:gd name="connsiteY1" fmla="*/ 385619 h 847437"/>
              <a:gd name="connsiteX2" fmla="*/ 845127 w 4890655"/>
              <a:gd name="connsiteY2" fmla="*/ 108528 h 847437"/>
              <a:gd name="connsiteX3" fmla="*/ 1634836 w 4890655"/>
              <a:gd name="connsiteY3" fmla="*/ 842819 h 847437"/>
              <a:gd name="connsiteX4" fmla="*/ 2618509 w 4890655"/>
              <a:gd name="connsiteY4" fmla="*/ 80819 h 847437"/>
              <a:gd name="connsiteX5" fmla="*/ 3532909 w 4890655"/>
              <a:gd name="connsiteY5" fmla="*/ 815109 h 847437"/>
              <a:gd name="connsiteX6" fmla="*/ 4225636 w 4890655"/>
              <a:gd name="connsiteY6" fmla="*/ 53109 h 847437"/>
              <a:gd name="connsiteX7" fmla="*/ 4890655 w 4890655"/>
              <a:gd name="connsiteY7" fmla="*/ 496455 h 847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90655" h="847437">
                <a:moveTo>
                  <a:pt x="0" y="413328"/>
                </a:moveTo>
                <a:cubicBezTo>
                  <a:pt x="33482" y="424873"/>
                  <a:pt x="66964" y="436419"/>
                  <a:pt x="207818" y="385619"/>
                </a:cubicBezTo>
                <a:cubicBezTo>
                  <a:pt x="348672" y="334819"/>
                  <a:pt x="607291" y="32328"/>
                  <a:pt x="845127" y="108528"/>
                </a:cubicBezTo>
                <a:cubicBezTo>
                  <a:pt x="1082963" y="184728"/>
                  <a:pt x="1339272" y="847437"/>
                  <a:pt x="1634836" y="842819"/>
                </a:cubicBezTo>
                <a:cubicBezTo>
                  <a:pt x="1930400" y="838201"/>
                  <a:pt x="2302164" y="85437"/>
                  <a:pt x="2618509" y="80819"/>
                </a:cubicBezTo>
                <a:cubicBezTo>
                  <a:pt x="2934854" y="76201"/>
                  <a:pt x="3265055" y="819727"/>
                  <a:pt x="3532909" y="815109"/>
                </a:cubicBezTo>
                <a:cubicBezTo>
                  <a:pt x="3800763" y="810491"/>
                  <a:pt x="3999345" y="106218"/>
                  <a:pt x="4225636" y="53109"/>
                </a:cubicBezTo>
                <a:cubicBezTo>
                  <a:pt x="4451927" y="0"/>
                  <a:pt x="4770582" y="350982"/>
                  <a:pt x="4890655" y="496455"/>
                </a:cubicBezTo>
              </a:path>
            </a:pathLst>
          </a:cu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7" name="Rectangle 26"/>
          <p:cNvSpPr/>
          <p:nvPr/>
        </p:nvSpPr>
        <p:spPr>
          <a:xfrm>
            <a:off x="1403648" y="4725144"/>
            <a:ext cx="14401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22300">
              <a:spcAft>
                <a:spcPts val="0"/>
              </a:spcAft>
              <a:defRPr/>
            </a:pPr>
            <a:r>
              <a:rPr lang="af-ZA" b="1" dirty="0"/>
              <a:t>UU No. 39 Tahun 2008 Kementerian Negara</a:t>
            </a:r>
            <a:endParaRPr lang="en-US" b="1" dirty="0"/>
          </a:p>
        </p:txBody>
      </p:sp>
      <p:sp>
        <p:nvSpPr>
          <p:cNvPr id="28" name="Oval 27"/>
          <p:cNvSpPr/>
          <p:nvPr/>
        </p:nvSpPr>
        <p:spPr>
          <a:xfrm>
            <a:off x="2555776" y="3429000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30" name="Straight Arrow Connector 29"/>
          <p:cNvCxnSpPr/>
          <p:nvPr/>
        </p:nvCxnSpPr>
        <p:spPr>
          <a:xfrm flipV="1">
            <a:off x="2195736" y="3789041"/>
            <a:ext cx="432048" cy="864095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/>
          <p:cNvSpPr/>
          <p:nvPr/>
        </p:nvSpPr>
        <p:spPr>
          <a:xfrm>
            <a:off x="3419872" y="3429000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3203848" y="2636912"/>
            <a:ext cx="318475" cy="74779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2339752" y="1484784"/>
            <a:ext cx="15121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22300">
              <a:spcAft>
                <a:spcPts val="0"/>
              </a:spcAft>
              <a:defRPr/>
            </a:pPr>
            <a:r>
              <a:rPr lang="af-ZA" b="1" dirty="0"/>
              <a:t>UU </a:t>
            </a:r>
            <a:r>
              <a:rPr lang="af-ZA" b="1" dirty="0" smtClean="0"/>
              <a:t>No. </a:t>
            </a:r>
            <a:r>
              <a:rPr lang="af-ZA" b="1" dirty="0"/>
              <a:t>25 Tahun 2009 </a:t>
            </a:r>
          </a:p>
          <a:p>
            <a:pPr algn="ctr" defTabSz="622300">
              <a:spcAft>
                <a:spcPts val="0"/>
              </a:spcAft>
              <a:defRPr/>
            </a:pPr>
            <a:r>
              <a:rPr lang="af-ZA" b="1" dirty="0"/>
              <a:t>Pelayanan Publik</a:t>
            </a:r>
            <a:endParaRPr lang="en-US" dirty="0"/>
          </a:p>
        </p:txBody>
      </p:sp>
      <p:sp>
        <p:nvSpPr>
          <p:cNvPr id="38" name="Oval 37"/>
          <p:cNvSpPr/>
          <p:nvPr/>
        </p:nvSpPr>
        <p:spPr>
          <a:xfrm>
            <a:off x="4427984" y="3429000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39" name="Straight Arrow Connector 38"/>
          <p:cNvCxnSpPr>
            <a:endCxn id="38" idx="4"/>
          </p:cNvCxnSpPr>
          <p:nvPr/>
        </p:nvCxnSpPr>
        <p:spPr>
          <a:xfrm flipV="1">
            <a:off x="4572000" y="3789040"/>
            <a:ext cx="36004" cy="864096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/>
          <p:nvPr/>
        </p:nvSpPr>
        <p:spPr>
          <a:xfrm>
            <a:off x="3491880" y="4725144"/>
            <a:ext cx="2088232" cy="64633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22300">
              <a:spcAft>
                <a:spcPts val="0"/>
              </a:spcAft>
              <a:defRPr/>
            </a:pPr>
            <a:r>
              <a:rPr lang="af-ZA" b="1" dirty="0"/>
              <a:t>UU </a:t>
            </a:r>
            <a:r>
              <a:rPr lang="id-ID" b="1" dirty="0" smtClean="0"/>
              <a:t>APARATUR SIPIL NEGARA</a:t>
            </a:r>
            <a:endParaRPr lang="en-US" b="1" dirty="0"/>
          </a:p>
        </p:txBody>
      </p:sp>
      <p:sp>
        <p:nvSpPr>
          <p:cNvPr id="44" name="Title 9"/>
          <p:cNvSpPr>
            <a:spLocks noGrp="1"/>
          </p:cNvSpPr>
          <p:nvPr>
            <p:ph type="title" idx="4294967295"/>
          </p:nvPr>
        </p:nvSpPr>
        <p:spPr>
          <a:xfrm>
            <a:off x="251520" y="224408"/>
            <a:ext cx="8640960" cy="828328"/>
          </a:xfrm>
        </p:spPr>
        <p:txBody>
          <a:bodyPr>
            <a:noAutofit/>
          </a:bodyPr>
          <a:lstStyle/>
          <a:p>
            <a:r>
              <a:rPr lang="id-ID" sz="3600" b="1" dirty="0" smtClean="0">
                <a:latin typeface="Calibri" pitchFamily="34" charset="0"/>
                <a:cs typeface="Century Gothic" pitchFamily="34" charset="0"/>
              </a:rPr>
              <a:t>FONDASI UU UNTUK </a:t>
            </a:r>
            <a:r>
              <a:rPr lang="en-US" sz="3600" b="1" dirty="0" smtClean="0">
                <a:latin typeface="Calibri" pitchFamily="34" charset="0"/>
                <a:cs typeface="Century Gothic" pitchFamily="34" charset="0"/>
              </a:rPr>
              <a:t>REFORMASI BIROKRASI</a:t>
            </a:r>
          </a:p>
        </p:txBody>
      </p:sp>
      <p:sp>
        <p:nvSpPr>
          <p:cNvPr id="46" name="Rectangle 45"/>
          <p:cNvSpPr/>
          <p:nvPr/>
        </p:nvSpPr>
        <p:spPr>
          <a:xfrm>
            <a:off x="5220072" y="1484784"/>
            <a:ext cx="172819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22300">
              <a:spcAft>
                <a:spcPts val="0"/>
              </a:spcAft>
              <a:defRPr/>
            </a:pPr>
            <a:r>
              <a:rPr lang="af-ZA" b="1" dirty="0" smtClean="0"/>
              <a:t>UU No. 30 Tahun 2014 Administrasi Pemerintahan</a:t>
            </a:r>
            <a:endParaRPr lang="af-ZA" b="1" dirty="0"/>
          </a:p>
        </p:txBody>
      </p:sp>
      <p:sp>
        <p:nvSpPr>
          <p:cNvPr id="47" name="Rectangle 46"/>
          <p:cNvSpPr/>
          <p:nvPr/>
        </p:nvSpPr>
        <p:spPr>
          <a:xfrm>
            <a:off x="5868144" y="4593902"/>
            <a:ext cx="165618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22300">
              <a:spcAft>
                <a:spcPts val="0"/>
              </a:spcAft>
              <a:defRPr/>
            </a:pPr>
            <a:r>
              <a:rPr lang="af-ZA" b="1" dirty="0"/>
              <a:t>RUU </a:t>
            </a:r>
            <a:r>
              <a:rPr lang="af-ZA" b="1" dirty="0" smtClean="0"/>
              <a:t>Sistem Pengawasan Intern Pemerintah</a:t>
            </a:r>
            <a:endParaRPr lang="en-US" dirty="0"/>
          </a:p>
        </p:txBody>
      </p:sp>
      <p:sp>
        <p:nvSpPr>
          <p:cNvPr id="48" name="Oval 47"/>
          <p:cNvSpPr/>
          <p:nvPr/>
        </p:nvSpPr>
        <p:spPr>
          <a:xfrm>
            <a:off x="6876256" y="2575733"/>
            <a:ext cx="2133600" cy="2077403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f-ZA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BIROKRASI </a:t>
            </a:r>
            <a:r>
              <a:rPr lang="af-ZA" b="1" dirty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BERSIH, KOMPETEN DAN MELAYANI</a:t>
            </a:r>
            <a:endParaRPr lang="id-ID" b="1" dirty="0">
              <a:solidFill>
                <a:schemeClr val="bg1"/>
              </a:solidFill>
            </a:endParaRPr>
          </a:p>
        </p:txBody>
      </p:sp>
      <p:sp>
        <p:nvSpPr>
          <p:cNvPr id="57" name="Oval 56"/>
          <p:cNvSpPr/>
          <p:nvPr/>
        </p:nvSpPr>
        <p:spPr>
          <a:xfrm>
            <a:off x="5364088" y="3356992"/>
            <a:ext cx="360040" cy="36004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58" name="Straight Arrow Connector 57"/>
          <p:cNvCxnSpPr/>
          <p:nvPr/>
        </p:nvCxnSpPr>
        <p:spPr>
          <a:xfrm flipH="1">
            <a:off x="5610555" y="2681210"/>
            <a:ext cx="216025" cy="648072"/>
          </a:xfrm>
          <a:prstGeom prst="straightConnector1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/>
          <p:cNvSpPr/>
          <p:nvPr/>
        </p:nvSpPr>
        <p:spPr>
          <a:xfrm>
            <a:off x="6156176" y="3356992"/>
            <a:ext cx="360040" cy="36004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62" name="Straight Arrow Connector 61"/>
          <p:cNvCxnSpPr/>
          <p:nvPr/>
        </p:nvCxnSpPr>
        <p:spPr>
          <a:xfrm flipH="1" flipV="1">
            <a:off x="6386056" y="3730888"/>
            <a:ext cx="202168" cy="850240"/>
          </a:xfrm>
          <a:prstGeom prst="straightConnector1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68"/>
          <p:cNvSpPr/>
          <p:nvPr/>
        </p:nvSpPr>
        <p:spPr>
          <a:xfrm>
            <a:off x="3491880" y="5403659"/>
            <a:ext cx="2088232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b="1" u="sng" dirty="0" err="1"/>
              <a:t>Peraturan</a:t>
            </a:r>
            <a:r>
              <a:rPr lang="en-US" sz="1600" b="1" u="sng" dirty="0"/>
              <a:t> </a:t>
            </a:r>
            <a:r>
              <a:rPr lang="en-US" sz="1600" b="1" u="sng" dirty="0" err="1"/>
              <a:t>Pelaksana</a:t>
            </a:r>
            <a:r>
              <a:rPr lang="en-US" sz="1600" b="1" dirty="0"/>
              <a:t>: </a:t>
            </a:r>
            <a:endParaRPr lang="id-ID" sz="1600" b="1" dirty="0" smtClean="0"/>
          </a:p>
          <a:p>
            <a:pPr>
              <a:defRPr/>
            </a:pPr>
            <a:r>
              <a:rPr lang="en-US" sz="1600" b="1" dirty="0"/>
              <a:t>6</a:t>
            </a:r>
            <a:r>
              <a:rPr lang="en-US" sz="1600" b="1" dirty="0" smtClean="0"/>
              <a:t> </a:t>
            </a:r>
            <a:r>
              <a:rPr lang="en-US" sz="1600" b="1" dirty="0"/>
              <a:t>PP, 4 PERPRES, 1 PERMEN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xmlns="" val="16921523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 animBg="1"/>
      <p:bldP spid="31" grpId="0" animBg="1"/>
      <p:bldP spid="36" grpId="0"/>
      <p:bldP spid="38" grpId="0" animBg="1"/>
      <p:bldP spid="42" grpId="0" animBg="1"/>
      <p:bldP spid="46" grpId="0"/>
      <p:bldP spid="47" grpId="0"/>
      <p:bldP spid="57" grpId="0" animBg="1"/>
      <p:bldP spid="61" grpId="0" animBg="1"/>
      <p:bldP spid="69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85800" y="62805"/>
            <a:ext cx="84582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/>
              <a:t>NAWA CITA</a:t>
            </a:r>
          </a:p>
          <a:p>
            <a:r>
              <a:rPr lang="en-US" sz="4000" b="1" dirty="0" smtClean="0"/>
              <a:t>3</a:t>
            </a:r>
            <a:r>
              <a:rPr lang="en-US" sz="3600" dirty="0" smtClean="0"/>
              <a:t> </a:t>
            </a:r>
            <a:r>
              <a:rPr lang="en-US" sz="2000" dirty="0" smtClean="0"/>
              <a:t>PROGRAM WAJIB, </a:t>
            </a:r>
            <a:r>
              <a:rPr lang="en-US" sz="3600" b="1" dirty="0" smtClean="0"/>
              <a:t>4</a:t>
            </a:r>
            <a:r>
              <a:rPr lang="en-US" sz="2000" dirty="0" smtClean="0"/>
              <a:t> PROGRAM PRIORITAS &amp; </a:t>
            </a:r>
            <a:r>
              <a:rPr lang="en-US" sz="3600" b="1" dirty="0" smtClean="0"/>
              <a:t>1</a:t>
            </a:r>
            <a:r>
              <a:rPr lang="en-US" sz="3600" dirty="0" smtClean="0"/>
              <a:t> </a:t>
            </a:r>
            <a:r>
              <a:rPr lang="en-US" sz="2000" dirty="0" smtClean="0"/>
              <a:t>PROGRAM DUKUNGAN</a:t>
            </a:r>
            <a:endParaRPr lang="en-US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3200400" y="1592996"/>
            <a:ext cx="670560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PROGRAM WAJIB</a:t>
            </a:r>
          </a:p>
          <a:p>
            <a:r>
              <a:rPr lang="en-US" dirty="0" smtClean="0"/>
              <a:t>KESEHATAN</a:t>
            </a:r>
          </a:p>
          <a:p>
            <a:r>
              <a:rPr lang="en-US" dirty="0" smtClean="0"/>
              <a:t>PENDIDIKAN</a:t>
            </a:r>
          </a:p>
          <a:p>
            <a:r>
              <a:rPr lang="en-US" dirty="0" smtClean="0"/>
              <a:t>PENANGGULANGAN KEMISKINAN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200400" y="2967334"/>
            <a:ext cx="6705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PROGRAM PRIORITAS</a:t>
            </a:r>
          </a:p>
          <a:p>
            <a:r>
              <a:rPr lang="en-US" dirty="0" smtClean="0"/>
              <a:t>PEMBANGUNAN INFRASTRUKTUR</a:t>
            </a:r>
          </a:p>
          <a:p>
            <a:r>
              <a:rPr lang="en-US" dirty="0" smtClean="0"/>
              <a:t>PEMBANGUNAN POROS MARITIM</a:t>
            </a:r>
          </a:p>
          <a:p>
            <a:r>
              <a:rPr lang="en-US" dirty="0" smtClean="0"/>
              <a:t>PEMBANGUNAN KETAHANAN ENERGI </a:t>
            </a:r>
          </a:p>
          <a:p>
            <a:r>
              <a:rPr lang="en-US" dirty="0" smtClean="0"/>
              <a:t>PEMBANGUNAN KETAHANAN PANGAN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200400" y="4595336"/>
            <a:ext cx="67056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PROGRAM DUKUNGAN</a:t>
            </a:r>
          </a:p>
          <a:p>
            <a:r>
              <a:rPr lang="en-US" b="1" dirty="0" smtClean="0">
                <a:solidFill>
                  <a:srgbClr val="FF0000"/>
                </a:solidFill>
              </a:rPr>
              <a:t>REFORMASI BIROKRASI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6554" r="3333"/>
          <a:stretch>
            <a:fillRect/>
          </a:stretch>
        </p:blipFill>
        <p:spPr bwMode="auto">
          <a:xfrm>
            <a:off x="0" y="3505200"/>
            <a:ext cx="4022046" cy="335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5000" t="34261" r="51772" b="19326"/>
          <a:stretch/>
        </p:blipFill>
        <p:spPr bwMode="auto">
          <a:xfrm>
            <a:off x="6876256" y="5213733"/>
            <a:ext cx="2271571" cy="167165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545335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Arrow 5">
            <a:hlinkClick r:id="" action="ppaction://noaction"/>
          </p:cNvPr>
          <p:cNvSpPr/>
          <p:nvPr/>
        </p:nvSpPr>
        <p:spPr>
          <a:xfrm>
            <a:off x="1913252" y="2381719"/>
            <a:ext cx="5083690" cy="2132530"/>
          </a:xfrm>
          <a:prstGeom prst="rightArrow">
            <a:avLst>
              <a:gd name="adj1" fmla="val 48684"/>
              <a:gd name="adj2" fmla="val 50000"/>
            </a:avLst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noProof="1" smtClean="0"/>
              <a:t>Arah Strategis Pembangunan Nasional </a:t>
            </a:r>
          </a:p>
          <a:p>
            <a:pPr algn="ctr"/>
            <a:r>
              <a:rPr lang="en-US" sz="2000" noProof="1" smtClean="0"/>
              <a:t>2015-2019</a:t>
            </a:r>
          </a:p>
          <a:p>
            <a:pPr algn="ctr"/>
            <a:r>
              <a:rPr lang="en-US" noProof="1" smtClean="0"/>
              <a:t>(Perencanaan, Rekruitmen &amp; Profesionalisme)</a:t>
            </a:r>
            <a:endParaRPr lang="en-US" noProof="1"/>
          </a:p>
        </p:txBody>
      </p:sp>
      <p:sp>
        <p:nvSpPr>
          <p:cNvPr id="7" name="Rectangle 6"/>
          <p:cNvSpPr/>
          <p:nvPr/>
        </p:nvSpPr>
        <p:spPr>
          <a:xfrm>
            <a:off x="1913251" y="1055908"/>
            <a:ext cx="3997690" cy="150298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u="sng" noProof="1" smtClean="0"/>
              <a:t>Tantangan Manajemen SDM ke Depan</a:t>
            </a:r>
          </a:p>
          <a:p>
            <a:pPr algn="ctr"/>
            <a:r>
              <a:rPr lang="en-US" sz="1600" b="1" i="1" noProof="1" smtClean="0"/>
              <a:t>HIGHLY COMPETITIVE</a:t>
            </a:r>
            <a:r>
              <a:rPr lang="en-US" sz="1600" b="1" noProof="1" smtClean="0"/>
              <a:t>-AFTA-ME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noProof="1" smtClean="0"/>
              <a:t>GLOBALISASI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noProof="1" smtClean="0"/>
              <a:t>COMPETITIVE ANTAR NEGAR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noProof="1" smtClean="0"/>
              <a:t>TEKNOLOGI INFORMASI &amp; DIGITASI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i="1" noProof="1" smtClean="0"/>
              <a:t>HIGH COLLABORATION</a:t>
            </a:r>
            <a:endParaRPr lang="en-US" sz="1400" i="1" noProof="1" smtClean="0"/>
          </a:p>
        </p:txBody>
      </p:sp>
      <p:sp>
        <p:nvSpPr>
          <p:cNvPr id="16" name="Right Arrow 15"/>
          <p:cNvSpPr/>
          <p:nvPr/>
        </p:nvSpPr>
        <p:spPr>
          <a:xfrm rot="16200000">
            <a:off x="3646943" y="3902768"/>
            <a:ext cx="342903" cy="589549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sp>
        <p:nvSpPr>
          <p:cNvPr id="17" name="Right Arrow 16"/>
          <p:cNvSpPr/>
          <p:nvPr/>
        </p:nvSpPr>
        <p:spPr>
          <a:xfrm rot="5400000">
            <a:off x="3646942" y="2438749"/>
            <a:ext cx="342903" cy="589549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noProof="1"/>
          </a:p>
        </p:txBody>
      </p:sp>
      <p:grpSp>
        <p:nvGrpSpPr>
          <p:cNvPr id="18" name="Group 17"/>
          <p:cNvGrpSpPr/>
          <p:nvPr/>
        </p:nvGrpSpPr>
        <p:grpSpPr>
          <a:xfrm>
            <a:off x="7006694" y="1660621"/>
            <a:ext cx="2137305" cy="4144643"/>
            <a:chOff x="451184" y="2574758"/>
            <a:chExt cx="1552074" cy="2406502"/>
          </a:xfrm>
        </p:grpSpPr>
        <p:sp>
          <p:nvSpPr>
            <p:cNvPr id="19" name="Rectangle 18"/>
            <p:cNvSpPr/>
            <p:nvPr/>
          </p:nvSpPr>
          <p:spPr>
            <a:xfrm>
              <a:off x="451184" y="2574758"/>
              <a:ext cx="1552074" cy="2406502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400" noProof="1" smtClean="0"/>
            </a:p>
            <a:p>
              <a:pPr marL="168275" indent="-168275">
                <a:buFont typeface="Arial" panose="020B0604020202020204" pitchFamily="34" charset="0"/>
                <a:buChar char="•"/>
              </a:pPr>
              <a:endParaRPr lang="en-US" sz="1400" noProof="1" smtClean="0"/>
            </a:p>
            <a:p>
              <a:pPr marL="168275" indent="-168275">
                <a:buFont typeface="Arial" panose="020B0604020202020204" pitchFamily="34" charset="0"/>
                <a:buChar char="•"/>
              </a:pPr>
              <a:endParaRPr lang="en-US" sz="1400" noProof="1" smtClean="0"/>
            </a:p>
            <a:p>
              <a:pPr algn="ctr"/>
              <a:r>
                <a:rPr lang="en-US" sz="2400" b="1" u="sng" noProof="1" smtClean="0"/>
                <a:t>SMART ASN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sz="1600" b="1" noProof="1" smtClean="0"/>
                <a:t>BERWAWASAN GLOBAL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sz="1600" b="1" noProof="1" smtClean="0"/>
                <a:t>MENGUASAI IT/DIGITAL DAN BAHASA ASING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sz="1600" b="1" noProof="1" smtClean="0"/>
                <a:t>DAYA NETWORKING TINGGI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sz="1600" b="1" noProof="1" smtClean="0"/>
                <a:t>INTEGRITY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sz="1600" b="1" noProof="1" smtClean="0"/>
                <a:t>HOSPITALITY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sz="1600" b="1" noProof="1" smtClean="0"/>
                <a:t>ENTREPREUNER-SHIP, INNOVATIVE</a:t>
              </a:r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589547" y="2619149"/>
              <a:ext cx="1275348" cy="397042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noProof="1" smtClean="0">
                  <a:solidFill>
                    <a:schemeClr val="bg1"/>
                  </a:solidFill>
                </a:rPr>
                <a:t>2019</a:t>
              </a:r>
              <a:endParaRPr lang="en-US" b="1" noProof="1">
                <a:solidFill>
                  <a:schemeClr val="bg1"/>
                </a:solidFill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1913251" y="4388912"/>
            <a:ext cx="3997690" cy="217880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noProof="1" smtClean="0"/>
          </a:p>
          <a:p>
            <a:pPr algn="ctr"/>
            <a:r>
              <a:rPr lang="en-US" b="1" u="sng" noProof="1" smtClean="0"/>
              <a:t>Tantangan SDM Interna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noProof="1" smtClean="0"/>
              <a:t>KUALIFIKASI ASN DG STRATEGI PEMBANGUNAN BLM TERKAIT SEPENUHNY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i="1" noProof="1" smtClean="0"/>
              <a:t>MISMATCH</a:t>
            </a:r>
            <a:r>
              <a:rPr lang="en-US" sz="1400" b="1" noProof="1" smtClean="0"/>
              <a:t> SPESIFIKASI JABATAN &amp; </a:t>
            </a:r>
            <a:r>
              <a:rPr lang="en-US" sz="1400" b="1" i="1" noProof="1" smtClean="0"/>
              <a:t>MAN QUALIFICATION</a:t>
            </a:r>
            <a:endParaRPr lang="en-US" sz="1400" b="1" noProof="1" smtClean="0">
              <a:solidFill>
                <a:srgbClr val="FFFF0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noProof="1" smtClean="0"/>
              <a:t>PENEGAKAN DISIPLIN BLM SEPENUHNYA DIJALANKA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noProof="1" smtClean="0"/>
              <a:t>ORIENTASI PEMBANGUNAN SDMA CENDERUNG TERTUTUP/KEDAERAHAN</a:t>
            </a:r>
          </a:p>
          <a:p>
            <a:pPr algn="ctr"/>
            <a:endParaRPr lang="en-US" sz="1400" noProof="1"/>
          </a:p>
        </p:txBody>
      </p:sp>
      <p:sp>
        <p:nvSpPr>
          <p:cNvPr id="4" name="Rectangle 3">
            <a:hlinkClick r:id="" action="ppaction://noaction"/>
          </p:cNvPr>
          <p:cNvSpPr/>
          <p:nvPr/>
        </p:nvSpPr>
        <p:spPr>
          <a:xfrm>
            <a:off x="158357" y="2944865"/>
            <a:ext cx="1690436" cy="53088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8275" indent="-168275">
              <a:buFont typeface="Arial" panose="020B0604020202020204" pitchFamily="34" charset="0"/>
              <a:buChar char="•"/>
            </a:pPr>
            <a:r>
              <a:rPr lang="en-US" sz="1600" noProof="1" smtClean="0"/>
              <a:t>Profil SDM ASN saat ini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158356" y="2460310"/>
            <a:ext cx="1647227" cy="41254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noProof="1" smtClean="0">
                <a:solidFill>
                  <a:schemeClr val="tx1"/>
                </a:solidFill>
              </a:rPr>
              <a:t>2015</a:t>
            </a:r>
            <a:endParaRPr lang="en-US" b="1" noProof="1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58356" y="3518615"/>
            <a:ext cx="1690437" cy="53088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8275" indent="-168275">
              <a:buFont typeface="Arial" panose="020B0604020202020204" pitchFamily="34" charset="0"/>
              <a:buChar char="•"/>
            </a:pPr>
            <a:r>
              <a:rPr lang="en-US" sz="1600" i="1" noProof="1" smtClean="0"/>
              <a:t>Benchmark</a:t>
            </a:r>
            <a:r>
              <a:rPr lang="en-US" sz="1600" noProof="1" smtClean="0"/>
              <a:t> ASN Internasional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11201" y="189657"/>
            <a:ext cx="794129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noProof="1" smtClean="0">
                <a:solidFill>
                  <a:srgbClr val="000000"/>
                </a:solidFill>
                <a:latin typeface="Calibri" panose="020F0502020204030204" pitchFamily="34" charset="0"/>
              </a:rPr>
              <a:t>SASARAN</a:t>
            </a:r>
            <a:r>
              <a:rPr lang="en-US" sz="3200" b="1" i="1" noProof="1" smtClean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3200" b="1" noProof="1" smtClean="0">
                <a:solidFill>
                  <a:srgbClr val="000000"/>
                </a:solidFill>
                <a:latin typeface="Calibri" panose="020F0502020204030204" pitchFamily="34" charset="0"/>
              </a:rPr>
              <a:t>PEMBANGUNAN</a:t>
            </a:r>
            <a:r>
              <a:rPr lang="en-US" sz="3200" b="1" i="0" u="none" strike="noStrike" baseline="0" noProof="1" smtClean="0">
                <a:solidFill>
                  <a:srgbClr val="000000"/>
                </a:solidFill>
                <a:latin typeface="Calibri" panose="020F0502020204030204" pitchFamily="34" charset="0"/>
              </a:rPr>
              <a:t> ASN </a:t>
            </a:r>
            <a:r>
              <a:rPr lang="en-US" sz="3200" b="1" noProof="1" smtClean="0">
                <a:solidFill>
                  <a:srgbClr val="000000"/>
                </a:solidFill>
                <a:latin typeface="Calibri" panose="020F0502020204030204" pitchFamily="34" charset="0"/>
              </a:rPr>
              <a:t>2015 - 2019 </a:t>
            </a:r>
            <a:endParaRPr lang="en-US" sz="3200" b="1" noProof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375980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>
          <a:xfrm>
            <a:off x="395536" y="3789040"/>
            <a:ext cx="8309009" cy="2679466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6"/>
          </a:p>
        </p:txBody>
      </p:sp>
      <p:sp>
        <p:nvSpPr>
          <p:cNvPr id="16387" name="Title 2"/>
          <p:cNvSpPr>
            <a:spLocks noGrp="1"/>
          </p:cNvSpPr>
          <p:nvPr>
            <p:ph type="ctrTitle"/>
          </p:nvPr>
        </p:nvSpPr>
        <p:spPr>
          <a:xfrm>
            <a:off x="2123728" y="4437113"/>
            <a:ext cx="6264696" cy="1008112"/>
          </a:xfrm>
        </p:spPr>
        <p:txBody>
          <a:bodyPr>
            <a:normAutofit/>
          </a:bodyPr>
          <a:lstStyle/>
          <a:p>
            <a:pPr algn="l" eaLnBrk="1" hangingPunct="1"/>
            <a:r>
              <a:rPr lang="en-US" altLang="en-US" sz="3600" dirty="0" smtClean="0">
                <a:solidFill>
                  <a:schemeClr val="bg1"/>
                </a:solidFill>
              </a:rPr>
              <a:t>KEBIJAKAN TENTANG ASN</a:t>
            </a:r>
            <a:endParaRPr lang="id-ID" altLang="en-US" sz="3600" dirty="0" smtClean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 bwMode="auto">
          <a:xfrm>
            <a:off x="781941" y="4197749"/>
            <a:ext cx="931665" cy="186204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15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3</a:t>
            </a:r>
            <a:endParaRPr lang="id-ID" sz="115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1907704" y="4383500"/>
            <a:ext cx="82171" cy="14905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81976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3" descr="http://dprd.batangharikab.go.id/foto_publikasi/24asn3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71600" y="990600"/>
            <a:ext cx="6777038" cy="449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TextBox 2"/>
          <p:cNvSpPr txBox="1">
            <a:spLocks noChangeArrowheads="1"/>
          </p:cNvSpPr>
          <p:nvPr/>
        </p:nvSpPr>
        <p:spPr bwMode="auto">
          <a:xfrm>
            <a:off x="1255713" y="533400"/>
            <a:ext cx="7010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PERSETUJUAN RUU ASN OLEH DPR RI 19 DESEMBER 2013</a:t>
            </a:r>
          </a:p>
        </p:txBody>
      </p:sp>
      <p:sp>
        <p:nvSpPr>
          <p:cNvPr id="22532" name="TextBox 1"/>
          <p:cNvSpPr txBox="1">
            <a:spLocks noChangeArrowheads="1"/>
          </p:cNvSpPr>
          <p:nvPr/>
        </p:nvSpPr>
        <p:spPr bwMode="auto">
          <a:xfrm>
            <a:off x="1219200" y="5715000"/>
            <a:ext cx="689451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3200" b="1"/>
              <a:t>UU NO. 5 THN 2014 TTG ASN</a:t>
            </a:r>
          </a:p>
        </p:txBody>
      </p:sp>
      <p:sp>
        <p:nvSpPr>
          <p:cNvPr id="22533" name="TextBox 2"/>
          <p:cNvSpPr txBox="1">
            <a:spLocks noChangeArrowheads="1"/>
          </p:cNvSpPr>
          <p:nvPr/>
        </p:nvSpPr>
        <p:spPr bwMode="auto">
          <a:xfrm>
            <a:off x="1295400" y="6248400"/>
            <a:ext cx="6096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/>
              <a:t>TGL 15 JANUARI 2014</a:t>
            </a:r>
          </a:p>
        </p:txBody>
      </p:sp>
    </p:spTree>
    <p:extLst>
      <p:ext uri="{BB962C8B-B14F-4D97-AF65-F5344CB8AC3E}">
        <p14:creationId xmlns:p14="http://schemas.microsoft.com/office/powerpoint/2010/main" xmlns="" val="25249323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idx="4294967295"/>
          </p:nvPr>
        </p:nvSpPr>
        <p:spPr>
          <a:xfrm>
            <a:off x="467544" y="476672"/>
            <a:ext cx="8229600" cy="850106"/>
          </a:xfrm>
        </p:spPr>
        <p:txBody>
          <a:bodyPr>
            <a:normAutofit/>
          </a:bodyPr>
          <a:lstStyle/>
          <a:p>
            <a:pPr algn="l" eaLnBrk="1" hangingPunct="1"/>
            <a:r>
              <a:rPr lang="id-ID" sz="4400" b="1" dirty="0" smtClean="0">
                <a:latin typeface="+mn-lt"/>
                <a:cs typeface="Century Gothic" pitchFamily="34" charset="0"/>
              </a:rPr>
              <a:t>TUJUAN UTAMA UU ASN</a:t>
            </a:r>
          </a:p>
        </p:txBody>
      </p:sp>
      <p:sp>
        <p:nvSpPr>
          <p:cNvPr id="5" name="Rectangle 4"/>
          <p:cNvSpPr/>
          <p:nvPr/>
        </p:nvSpPr>
        <p:spPr>
          <a:xfrm>
            <a:off x="576064" y="1413932"/>
            <a:ext cx="413995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indent="-360363">
              <a:buFont typeface="+mj-lt"/>
              <a:buAutoNum type="alphaLcPeriod"/>
              <a:defRPr/>
            </a:pPr>
            <a:r>
              <a:rPr lang="id-ID" sz="2400" smtClean="0">
                <a:ea typeface="ＭＳ Ｐゴシック" charset="-128"/>
                <a:cs typeface="Calibri"/>
              </a:rPr>
              <a:t>Independensi dan Netralitas  </a:t>
            </a:r>
          </a:p>
          <a:p>
            <a:pPr marL="360363" indent="-360363">
              <a:buFont typeface="+mj-lt"/>
              <a:buAutoNum type="alphaLcPeriod"/>
              <a:defRPr/>
            </a:pPr>
            <a:r>
              <a:rPr lang="id-ID" sz="2400" smtClean="0">
                <a:ea typeface="ＭＳ Ｐゴシック" charset="-128"/>
                <a:cs typeface="Calibri"/>
              </a:rPr>
              <a:t>Kompetensi</a:t>
            </a:r>
          </a:p>
          <a:p>
            <a:pPr marL="360363" indent="-360363">
              <a:buFont typeface="+mj-lt"/>
              <a:buAutoNum type="alphaLcPeriod"/>
              <a:defRPr/>
            </a:pPr>
            <a:r>
              <a:rPr lang="id-ID" sz="2400" smtClean="0">
                <a:ea typeface="ＭＳ Ｐゴシック" charset="-128"/>
                <a:cs typeface="Calibri"/>
              </a:rPr>
              <a:t>Kinerja/ Produktivitas Kerja</a:t>
            </a:r>
          </a:p>
          <a:p>
            <a:pPr marL="360363" indent="-360363">
              <a:buFont typeface="+mj-lt"/>
              <a:buAutoNum type="alphaLcPeriod"/>
              <a:defRPr/>
            </a:pPr>
            <a:r>
              <a:rPr lang="id-ID" sz="2400" smtClean="0">
                <a:ea typeface="ＭＳ Ｐゴシック" charset="-128"/>
                <a:cs typeface="Calibri"/>
              </a:rPr>
              <a:t>Integritas		</a:t>
            </a:r>
          </a:p>
        </p:txBody>
      </p:sp>
      <p:pic>
        <p:nvPicPr>
          <p:cNvPr id="6" name="Picture 4" descr="http://setkab.go.id/media/article/images/2012/08/24/p/n/pns-jilbab-baru-lg-one-797.jp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83568" y="3399366"/>
            <a:ext cx="7704851" cy="3059726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6516216" y="6165304"/>
            <a:ext cx="20162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1400" smtClean="0">
                <a:solidFill>
                  <a:schemeClr val="bg1"/>
                </a:solidFill>
              </a:rPr>
              <a:t>setkab.go.id</a:t>
            </a:r>
            <a:endParaRPr lang="id-ID" sz="140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788024" y="1412776"/>
            <a:ext cx="388843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indent="-360363">
              <a:buFont typeface="+mj-lt"/>
              <a:buAutoNum type="alphaLcPeriod" startAt="5"/>
              <a:defRPr/>
            </a:pPr>
            <a:r>
              <a:rPr lang="id-ID" sz="2400" smtClean="0">
                <a:ea typeface="ＭＳ Ｐゴシック" charset="-128"/>
                <a:cs typeface="Calibri"/>
              </a:rPr>
              <a:t>Kesejahteraan</a:t>
            </a:r>
          </a:p>
          <a:p>
            <a:pPr marL="360363" indent="-360363">
              <a:buFont typeface="+mj-lt"/>
              <a:buAutoNum type="alphaLcPeriod" startAt="5"/>
              <a:defRPr/>
            </a:pPr>
            <a:r>
              <a:rPr lang="id-ID" sz="2400" smtClean="0">
                <a:ea typeface="ＭＳ Ｐゴシック" charset="-128"/>
                <a:cs typeface="Calibri"/>
              </a:rPr>
              <a:t>Kualitas Pelayanan Publik</a:t>
            </a:r>
          </a:p>
          <a:p>
            <a:pPr marL="360363" indent="-360363">
              <a:buFont typeface="+mj-lt"/>
              <a:buAutoNum type="alphaLcPeriod" startAt="5"/>
              <a:defRPr/>
            </a:pPr>
            <a:r>
              <a:rPr lang="id-ID" sz="2400" smtClean="0">
                <a:ea typeface="ＭＳ Ｐゴシック" charset="-128"/>
                <a:cs typeface="Calibri"/>
              </a:rPr>
              <a:t>Pengawasan dan Akuntabilitas</a:t>
            </a:r>
            <a:endParaRPr lang="id-ID" sz="2400">
              <a:ea typeface="ＭＳ Ｐゴシック" charset="-128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4689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3.bp.blogspot.com/-JMTbyZHYxWo/UmeSga6r_0I/AAAAAAAACv4/96O24pM1UeY/s320/Kesejahteraan%2BPNS%2Bmelalui%2BRUU%2BASN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6804248" y="260648"/>
            <a:ext cx="2160240" cy="1729915"/>
          </a:xfrm>
          <a:prstGeom prst="rect">
            <a:avLst/>
          </a:prstGeom>
          <a:noFill/>
        </p:spPr>
      </p:pic>
      <p:sp>
        <p:nvSpPr>
          <p:cNvPr id="4" name="Title 1"/>
          <p:cNvSpPr>
            <a:spLocks noGrp="1"/>
          </p:cNvSpPr>
          <p:nvPr>
            <p:ph type="title" idx="4294967295"/>
          </p:nvPr>
        </p:nvSpPr>
        <p:spPr>
          <a:xfrm>
            <a:off x="467544" y="116632"/>
            <a:ext cx="8229600" cy="850106"/>
          </a:xfrm>
        </p:spPr>
        <p:txBody>
          <a:bodyPr/>
          <a:lstStyle/>
          <a:p>
            <a:pPr algn="l" eaLnBrk="1" hangingPunct="1"/>
            <a:r>
              <a:rPr lang="en-US" sz="4000" b="1" dirty="0" smtClean="0">
                <a:latin typeface="+mn-lt"/>
                <a:cs typeface="Century Gothic" pitchFamily="34" charset="0"/>
              </a:rPr>
              <a:t>PRINSIP </a:t>
            </a:r>
            <a:r>
              <a:rPr lang="id-ID" sz="4000" b="1" dirty="0" smtClean="0">
                <a:latin typeface="+mn-lt"/>
                <a:cs typeface="Century Gothic" pitchFamily="34" charset="0"/>
              </a:rPr>
              <a:t>DASAR </a:t>
            </a:r>
            <a:r>
              <a:rPr lang="en-US" sz="4000" b="1" dirty="0" smtClean="0">
                <a:latin typeface="+mn-lt"/>
                <a:cs typeface="Century Gothic" pitchFamily="34" charset="0"/>
              </a:rPr>
              <a:t>UU ASN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67544" y="2060848"/>
            <a:ext cx="6120680" cy="4104456"/>
          </a:xfrm>
        </p:spPr>
        <p:txBody>
          <a:bodyPr>
            <a:noAutofit/>
          </a:bodyPr>
          <a:lstStyle/>
          <a:p>
            <a:pPr eaLnBrk="1" hangingPunct="1">
              <a:lnSpc>
                <a:spcPts val="25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lang="id-ID" sz="2200" dirty="0" smtClean="0">
                <a:ea typeface="ＭＳ Ｐゴシック" charset="-128"/>
              </a:rPr>
              <a:t>Seleksi dan promosi secara adil dan kompetitif</a:t>
            </a:r>
            <a:endParaRPr lang="en-US" sz="2200" dirty="0" smtClean="0">
              <a:ea typeface="ＭＳ Ｐゴシック" charset="-128"/>
            </a:endParaRPr>
          </a:p>
          <a:p>
            <a:pPr eaLnBrk="1" hangingPunct="1">
              <a:lnSpc>
                <a:spcPts val="25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lang="id-ID" sz="2200" dirty="0" smtClean="0">
                <a:ea typeface="ＭＳ Ｐゴシック" charset="-128"/>
              </a:rPr>
              <a:t>Menerapkan prinsip </a:t>
            </a:r>
            <a:r>
              <a:rPr lang="id-ID" sz="2200" i="1" dirty="0" smtClean="0">
                <a:ea typeface="ＭＳ Ｐゴシック" charset="-128"/>
              </a:rPr>
              <a:t>fairness</a:t>
            </a:r>
            <a:endParaRPr lang="en-US" sz="2200" dirty="0" smtClean="0">
              <a:ea typeface="ＭＳ Ｐゴシック" charset="-128"/>
            </a:endParaRPr>
          </a:p>
          <a:p>
            <a:pPr eaLnBrk="1" hangingPunct="1">
              <a:lnSpc>
                <a:spcPts val="25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lang="id-ID" sz="2200" dirty="0" smtClean="0">
                <a:ea typeface="ＭＳ Ｐゴシック" charset="-128"/>
              </a:rPr>
              <a:t>Penggajian, </a:t>
            </a:r>
            <a:r>
              <a:rPr lang="id-ID" sz="2200" i="1" dirty="0" smtClean="0">
                <a:ea typeface="ＭＳ Ｐゴシック" charset="-128"/>
              </a:rPr>
              <a:t>reward and punishment </a:t>
            </a:r>
            <a:r>
              <a:rPr lang="id-ID" sz="2200" dirty="0" smtClean="0">
                <a:ea typeface="ＭＳ Ｐゴシック" charset="-128"/>
              </a:rPr>
              <a:t>berbasis kinerja</a:t>
            </a:r>
          </a:p>
          <a:p>
            <a:pPr eaLnBrk="1" hangingPunct="1">
              <a:lnSpc>
                <a:spcPts val="25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lang="id-ID" sz="2200" dirty="0" smtClean="0">
                <a:ea typeface="ＭＳ Ｐゴシック" charset="-128"/>
              </a:rPr>
              <a:t>Standar integritas dan perilaku untuk kepentingan publik</a:t>
            </a:r>
          </a:p>
          <a:p>
            <a:pPr eaLnBrk="1" hangingPunct="1">
              <a:lnSpc>
                <a:spcPts val="25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lang="id-ID" sz="2200" dirty="0" smtClean="0">
                <a:ea typeface="ＭＳ Ｐゴシック" charset="-128"/>
              </a:rPr>
              <a:t>Manajemen SDM secara efektif dan efisien</a:t>
            </a:r>
          </a:p>
          <a:p>
            <a:pPr eaLnBrk="1" hangingPunct="1">
              <a:lnSpc>
                <a:spcPts val="2500"/>
              </a:lnSpc>
              <a:spcBef>
                <a:spcPts val="0"/>
              </a:spcBef>
              <a:spcAft>
                <a:spcPts val="900"/>
              </a:spcAft>
              <a:defRPr/>
            </a:pPr>
            <a:r>
              <a:rPr lang="id-ID" sz="2200" dirty="0" smtClean="0">
                <a:ea typeface="ＭＳ Ｐゴシック" charset="-128"/>
              </a:rPr>
              <a:t>Melindungi pegawai dari intervensi politik dan dari tindakan semena-mena.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6804248" y="1916832"/>
            <a:ext cx="2195736" cy="4594037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id-ID" u="sng" smtClean="0">
                <a:ea typeface="ＭＳ Ｐゴシック" charset="-128"/>
              </a:rPr>
              <a:t>Sistem Merit </a:t>
            </a:r>
            <a:r>
              <a:rPr lang="id-ID" smtClean="0">
                <a:ea typeface="ＭＳ Ｐゴシック" charset="-128"/>
              </a:rPr>
              <a:t>adalah kebijakan dan Manajemen ASN yang berdasarkan pada </a:t>
            </a:r>
            <a:r>
              <a:rPr lang="id-ID" b="1" smtClean="0">
                <a:ea typeface="ＭＳ Ｐゴシック" charset="-128"/>
              </a:rPr>
              <a:t>kualifikasi, kompetensi, dan kinerja</a:t>
            </a:r>
            <a:r>
              <a:rPr lang="id-ID" smtClean="0">
                <a:ea typeface="ＭＳ Ｐゴシック" charset="-128"/>
              </a:rPr>
              <a:t> secara adil dan wajar dengan tanpa membedakan latar belakang politik, ras, warna kulit, agama, asal usul, jenis kelamin, status pernikahan, umur, ataupun kondisi kecacatan.</a:t>
            </a:r>
            <a:endParaRPr lang="id-ID" altLang="ja-JP">
              <a:ea typeface="ＭＳ Ｐゴシック" charset="-128"/>
              <a:cs typeface="MS PGothic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67544" y="980728"/>
            <a:ext cx="59766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id-ID" sz="2800" b="1" dirty="0">
                <a:ea typeface="ＭＳ Ｐゴシック" charset="-128"/>
              </a:rPr>
              <a:t>Memberlakukan </a:t>
            </a:r>
            <a:r>
              <a:rPr lang="id-ID" altLang="en-US" sz="2800" b="1" dirty="0" smtClean="0">
                <a:ea typeface="ＭＳ Ｐゴシック" charset="-128"/>
              </a:rPr>
              <a:t>“</a:t>
            </a:r>
            <a:r>
              <a:rPr lang="en-US" altLang="ja-JP" sz="2800" b="1" dirty="0" smtClean="0">
                <a:ea typeface="ＭＳ Ｐゴシック" charset="-128"/>
              </a:rPr>
              <a:t>SISTEM MERIT </a:t>
            </a:r>
            <a:r>
              <a:rPr lang="id-ID" altLang="en-US" sz="2800" b="1" dirty="0" smtClean="0">
                <a:ea typeface="ＭＳ Ｐゴシック" charset="-128"/>
              </a:rPr>
              <a:t>”</a:t>
            </a:r>
            <a:r>
              <a:rPr lang="en-US" altLang="ja-JP" sz="2800" b="1" dirty="0" smtClean="0">
                <a:ea typeface="ＭＳ Ｐゴシック" charset="-128"/>
              </a:rPr>
              <a:t> </a:t>
            </a:r>
            <a:r>
              <a:rPr lang="id-ID" altLang="ja-JP" sz="2800" b="1" dirty="0">
                <a:ea typeface="ＭＳ Ｐゴシック" charset="-128"/>
              </a:rPr>
              <a:t>melalui</a:t>
            </a:r>
            <a:r>
              <a:rPr lang="en-US" altLang="ja-JP" sz="2800" b="1" dirty="0">
                <a:ea typeface="ＭＳ Ｐゴシック" charset="-128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xmlns="" val="8912331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840200" y="2864674"/>
            <a:ext cx="1649908" cy="1796297"/>
            <a:chOff x="2804945" y="1945489"/>
            <a:chExt cx="995560" cy="1144322"/>
          </a:xfrm>
        </p:grpSpPr>
        <p:sp>
          <p:nvSpPr>
            <p:cNvPr id="3" name="Hexagon 2"/>
            <p:cNvSpPr/>
            <p:nvPr/>
          </p:nvSpPr>
          <p:spPr>
            <a:xfrm rot="5400000">
              <a:off x="2730564" y="2019870"/>
              <a:ext cx="1144322" cy="995560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rgbClr val="FF0000"/>
            </a:solidFill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</p:sp>
        <p:sp>
          <p:nvSpPr>
            <p:cNvPr id="4" name="Hexagon 4"/>
            <p:cNvSpPr/>
            <p:nvPr/>
          </p:nvSpPr>
          <p:spPr>
            <a:xfrm>
              <a:off x="2960086" y="2123814"/>
              <a:ext cx="685278" cy="78767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/>
            </a:p>
          </p:txBody>
        </p:sp>
      </p:grpSp>
      <p:sp>
        <p:nvSpPr>
          <p:cNvPr id="5" name="Rectangle 4"/>
          <p:cNvSpPr/>
          <p:nvPr/>
        </p:nvSpPr>
        <p:spPr>
          <a:xfrm>
            <a:off x="3917934" y="3180721"/>
            <a:ext cx="152135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Calibri" panose="020F0502020204030204" pitchFamily="34" charset="0"/>
                <a:cs typeface="Tahoma" panose="020B0604030504040204" pitchFamily="34" charset="0"/>
              </a:rPr>
              <a:t>UU 5/2014</a:t>
            </a:r>
          </a:p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Calibri" panose="020F0502020204030204" pitchFamily="34" charset="0"/>
                <a:cs typeface="Tahoma" panose="020B0604030504040204" pitchFamily="34" charset="0"/>
              </a:rPr>
              <a:t>ASN</a:t>
            </a:r>
            <a:endParaRPr lang="id-ID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3817357" y="2148246"/>
            <a:ext cx="670917" cy="852639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251481" y="2150171"/>
            <a:ext cx="3571301" cy="3652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35496" y="1596330"/>
            <a:ext cx="358514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id-ID" sz="1600" dirty="0" smtClean="0"/>
              <a:t>Pe</a:t>
            </a:r>
            <a:r>
              <a:rPr lang="en-US" sz="1600" dirty="0" err="1" smtClean="0"/>
              <a:t>rencanaan</a:t>
            </a:r>
            <a:r>
              <a:rPr lang="en-US" sz="1600" dirty="0" smtClean="0"/>
              <a:t> ASN </a:t>
            </a:r>
            <a:r>
              <a:rPr lang="en-US" sz="1600" dirty="0" err="1" smtClean="0"/>
              <a:t>dan</a:t>
            </a:r>
            <a:r>
              <a:rPr lang="en-US" sz="1600" dirty="0" smtClean="0"/>
              <a:t> </a:t>
            </a:r>
            <a:r>
              <a:rPr lang="en-US" sz="1600" dirty="0" err="1" smtClean="0"/>
              <a:t>pengadaan</a:t>
            </a:r>
            <a:r>
              <a:rPr lang="en-US" sz="1600" dirty="0" smtClean="0"/>
              <a:t> </a:t>
            </a:r>
            <a:r>
              <a:rPr lang="en-US" sz="1600" dirty="0" err="1" smtClean="0"/>
              <a:t>sesuai</a:t>
            </a:r>
            <a:r>
              <a:rPr lang="en-US" sz="1600" dirty="0" smtClean="0"/>
              <a:t> </a:t>
            </a:r>
          </a:p>
          <a:p>
            <a:pPr>
              <a:defRPr/>
            </a:pPr>
            <a:r>
              <a:rPr lang="en-US" sz="1600" dirty="0" err="1" smtClean="0"/>
              <a:t>arah</a:t>
            </a:r>
            <a:r>
              <a:rPr lang="en-US" sz="1600" dirty="0" smtClean="0"/>
              <a:t> </a:t>
            </a:r>
            <a:r>
              <a:rPr lang="en-US" sz="1600" dirty="0" err="1" smtClean="0"/>
              <a:t>pembangunan</a:t>
            </a:r>
            <a:endParaRPr lang="en-US" sz="1600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3834773" y="2857172"/>
            <a:ext cx="262539" cy="287427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309670" y="2859097"/>
            <a:ext cx="3530528" cy="5577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-16894" y="2268161"/>
            <a:ext cx="394082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dirty="0" err="1" smtClean="0"/>
              <a:t>Kebutuhan</a:t>
            </a:r>
            <a:r>
              <a:rPr lang="en-US" sz="1600" dirty="0" smtClean="0"/>
              <a:t> ASN </a:t>
            </a:r>
            <a:r>
              <a:rPr lang="en-US" sz="1600" dirty="0" err="1" smtClean="0"/>
              <a:t>berdasarkan</a:t>
            </a:r>
            <a:r>
              <a:rPr lang="en-US" sz="1600" dirty="0" smtClean="0"/>
              <a:t> </a:t>
            </a:r>
            <a:r>
              <a:rPr lang="en-US" sz="1600" dirty="0" err="1" smtClean="0"/>
              <a:t>Anjab</a:t>
            </a:r>
            <a:r>
              <a:rPr lang="en-US" sz="1600" dirty="0" smtClean="0"/>
              <a:t> &amp; ABK</a:t>
            </a:r>
          </a:p>
          <a:p>
            <a:pPr>
              <a:defRPr/>
            </a:pPr>
            <a:r>
              <a:rPr lang="en-US" sz="1600" dirty="0" err="1" smtClean="0"/>
              <a:t>Penyelarasan</a:t>
            </a:r>
            <a:r>
              <a:rPr lang="en-US" sz="1600" dirty="0" smtClean="0"/>
              <a:t> dg </a:t>
            </a:r>
            <a:r>
              <a:rPr lang="en-US" sz="1600" dirty="0" err="1" smtClean="0"/>
              <a:t>Standar</a:t>
            </a:r>
            <a:r>
              <a:rPr lang="en-US" sz="1600" dirty="0" smtClean="0"/>
              <a:t> </a:t>
            </a:r>
            <a:r>
              <a:rPr lang="en-US" sz="1600" dirty="0" err="1" smtClean="0"/>
              <a:t>Kompetensi</a:t>
            </a:r>
            <a:r>
              <a:rPr lang="en-US" sz="1600" dirty="0" smtClean="0"/>
              <a:t> </a:t>
            </a:r>
            <a:r>
              <a:rPr lang="en-US" sz="1600" dirty="0" err="1" smtClean="0"/>
              <a:t>Jabatan</a:t>
            </a:r>
            <a:endParaRPr lang="en-US" sz="1600" dirty="0"/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3583089" y="3751000"/>
            <a:ext cx="251682" cy="100319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309670" y="3840990"/>
            <a:ext cx="3278981" cy="10327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-36512" y="2996952"/>
            <a:ext cx="32924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id-ID" sz="1600" dirty="0"/>
              <a:t>Sistem Seleksi CPNS</a:t>
            </a:r>
            <a:r>
              <a:rPr lang="en-US" sz="1600" dirty="0"/>
              <a:t> </a:t>
            </a:r>
            <a:r>
              <a:rPr lang="en-US" sz="1600" dirty="0" err="1" smtClean="0"/>
              <a:t>menggunakan</a:t>
            </a:r>
            <a:r>
              <a:rPr lang="en-US" sz="1600" dirty="0" smtClean="0"/>
              <a:t> CAT &amp; </a:t>
            </a:r>
            <a:r>
              <a:rPr lang="en-US" sz="1600" dirty="0" err="1"/>
              <a:t>Promosi</a:t>
            </a:r>
            <a:r>
              <a:rPr lang="en-US" sz="1600" dirty="0"/>
              <a:t> </a:t>
            </a:r>
            <a:r>
              <a:rPr lang="en-US" sz="1600" dirty="0" smtClean="0"/>
              <a:t>JPT </a:t>
            </a:r>
            <a:r>
              <a:rPr lang="en-US" sz="1600" dirty="0" err="1"/>
              <a:t>s</a:t>
            </a:r>
            <a:r>
              <a:rPr lang="en-US" sz="1600" dirty="0" err="1" smtClean="0"/>
              <a:t>ecara</a:t>
            </a:r>
            <a:r>
              <a:rPr lang="en-US" sz="1600" dirty="0" smtClean="0"/>
              <a:t> </a:t>
            </a:r>
            <a:r>
              <a:rPr lang="en-US" sz="1600" dirty="0"/>
              <a:t>Terbuka</a:t>
            </a:r>
          </a:p>
        </p:txBody>
      </p:sp>
      <p:cxnSp>
        <p:nvCxnSpPr>
          <p:cNvPr id="35" name="Straight Arrow Connector 34"/>
          <p:cNvCxnSpPr/>
          <p:nvPr/>
        </p:nvCxnSpPr>
        <p:spPr>
          <a:xfrm flipV="1">
            <a:off x="3823857" y="4298611"/>
            <a:ext cx="188154" cy="233400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V="1">
            <a:off x="309670" y="4533937"/>
            <a:ext cx="3519614" cy="3652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244002" y="3986933"/>
            <a:ext cx="294356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dirty="0" err="1" smtClean="0"/>
              <a:t>Penilaian</a:t>
            </a:r>
            <a:r>
              <a:rPr lang="en-US" sz="1600" dirty="0" smtClean="0"/>
              <a:t> </a:t>
            </a:r>
            <a:r>
              <a:rPr lang="en-US" sz="1600" dirty="0" err="1" smtClean="0"/>
              <a:t>Kinerja</a:t>
            </a:r>
            <a:r>
              <a:rPr lang="en-US" sz="1600" dirty="0" smtClean="0"/>
              <a:t> </a:t>
            </a:r>
            <a:r>
              <a:rPr lang="en-US" sz="1600" dirty="0" err="1" smtClean="0"/>
              <a:t>dengan</a:t>
            </a:r>
            <a:r>
              <a:rPr lang="en-US" sz="1600" dirty="0" smtClean="0"/>
              <a:t> SKP </a:t>
            </a:r>
            <a:r>
              <a:rPr lang="en-US" sz="1600" dirty="0" err="1" smtClean="0"/>
              <a:t>dan</a:t>
            </a:r>
            <a:endParaRPr lang="en-US" sz="1600" dirty="0" smtClean="0"/>
          </a:p>
          <a:p>
            <a:pPr>
              <a:defRPr/>
            </a:pPr>
            <a:r>
              <a:rPr lang="en-US" sz="1600" dirty="0" err="1" smtClean="0"/>
              <a:t>penilaian</a:t>
            </a:r>
            <a:r>
              <a:rPr lang="en-US" sz="1600" dirty="0" smtClean="0"/>
              <a:t> </a:t>
            </a:r>
            <a:r>
              <a:rPr lang="en-US" sz="1600" dirty="0" err="1" smtClean="0"/>
              <a:t>Perilaku</a:t>
            </a:r>
            <a:r>
              <a:rPr lang="en-US" sz="1600" dirty="0" smtClean="0"/>
              <a:t> 360⁰</a:t>
            </a:r>
            <a:endParaRPr lang="en-US" sz="1600" dirty="0"/>
          </a:p>
        </p:txBody>
      </p:sp>
      <p:cxnSp>
        <p:nvCxnSpPr>
          <p:cNvPr id="40" name="Straight Arrow Connector 39"/>
          <p:cNvCxnSpPr/>
          <p:nvPr/>
        </p:nvCxnSpPr>
        <p:spPr>
          <a:xfrm flipV="1">
            <a:off x="3823859" y="4532011"/>
            <a:ext cx="520399" cy="843374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V="1">
            <a:off x="309670" y="5377311"/>
            <a:ext cx="3519614" cy="7643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/>
          <p:nvPr/>
        </p:nvSpPr>
        <p:spPr>
          <a:xfrm>
            <a:off x="254522" y="4826722"/>
            <a:ext cx="34544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dirty="0" err="1" smtClean="0"/>
              <a:t>Pengembangan</a:t>
            </a:r>
            <a:r>
              <a:rPr lang="en-US" sz="1600" dirty="0" smtClean="0"/>
              <a:t> </a:t>
            </a:r>
            <a:r>
              <a:rPr lang="en-US" sz="1600" dirty="0" err="1" smtClean="0"/>
              <a:t>kapasitas</a:t>
            </a:r>
            <a:r>
              <a:rPr lang="en-US" sz="1600" dirty="0" smtClean="0"/>
              <a:t> ASN</a:t>
            </a:r>
          </a:p>
          <a:p>
            <a:pPr>
              <a:defRPr/>
            </a:pPr>
            <a:r>
              <a:rPr lang="en-US" sz="1600" dirty="0" err="1" smtClean="0"/>
              <a:t>Diklat</a:t>
            </a:r>
            <a:r>
              <a:rPr lang="en-US" sz="1600" dirty="0" smtClean="0"/>
              <a:t> PNS minimal 5 </a:t>
            </a:r>
            <a:r>
              <a:rPr lang="en-US" sz="1600" dirty="0" err="1" smtClean="0"/>
              <a:t>hari</a:t>
            </a:r>
            <a:r>
              <a:rPr lang="en-US" sz="1600" dirty="0" smtClean="0"/>
              <a:t>/</a:t>
            </a:r>
            <a:r>
              <a:rPr lang="en-US" sz="1600" dirty="0" err="1" smtClean="0"/>
              <a:t>tahun</a:t>
            </a:r>
            <a:endParaRPr lang="en-US" sz="1600" dirty="0"/>
          </a:p>
        </p:txBody>
      </p:sp>
      <p:cxnSp>
        <p:nvCxnSpPr>
          <p:cNvPr id="46" name="Straight Arrow Connector 45"/>
          <p:cNvCxnSpPr/>
          <p:nvPr/>
        </p:nvCxnSpPr>
        <p:spPr>
          <a:xfrm flipH="1">
            <a:off x="5135076" y="2307952"/>
            <a:ext cx="770515" cy="836647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 flipV="1">
            <a:off x="5905589" y="2309877"/>
            <a:ext cx="2880320" cy="3652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5724128" y="1957123"/>
            <a:ext cx="29536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id-ID" sz="1600" dirty="0"/>
              <a:t>P</a:t>
            </a:r>
            <a:r>
              <a:rPr lang="nb-NO" sz="1600" dirty="0" smtClean="0"/>
              <a:t>enghargaan berdasarkan kinerja</a:t>
            </a:r>
            <a:endParaRPr lang="en-US" sz="1600" dirty="0"/>
          </a:p>
        </p:txBody>
      </p:sp>
      <p:cxnSp>
        <p:nvCxnSpPr>
          <p:cNvPr id="53" name="Straight Arrow Connector 52"/>
          <p:cNvCxnSpPr/>
          <p:nvPr/>
        </p:nvCxnSpPr>
        <p:spPr>
          <a:xfrm flipH="1">
            <a:off x="5479154" y="3160589"/>
            <a:ext cx="426436" cy="314918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V="1">
            <a:off x="5905589" y="3162516"/>
            <a:ext cx="2880320" cy="3652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/>
        </p:nvSpPr>
        <p:spPr>
          <a:xfrm>
            <a:off x="6022710" y="2541597"/>
            <a:ext cx="28269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id-ID" sz="1600" dirty="0" smtClean="0"/>
              <a:t>Pe</a:t>
            </a:r>
            <a:r>
              <a:rPr lang="en-US" sz="1600" dirty="0" err="1" smtClean="0"/>
              <a:t>mberhentian</a:t>
            </a:r>
            <a:r>
              <a:rPr lang="en-US" sz="1600" dirty="0" smtClean="0"/>
              <a:t> ASN </a:t>
            </a:r>
            <a:r>
              <a:rPr lang="en-US" sz="1600" dirty="0" err="1" smtClean="0"/>
              <a:t>karena</a:t>
            </a:r>
            <a:r>
              <a:rPr lang="en-US" sz="1600" dirty="0" smtClean="0"/>
              <a:t> </a:t>
            </a:r>
            <a:r>
              <a:rPr lang="en-US" sz="1600" dirty="0" err="1" smtClean="0"/>
              <a:t>tidak</a:t>
            </a:r>
            <a:r>
              <a:rPr lang="en-US" sz="1600" dirty="0" smtClean="0"/>
              <a:t> </a:t>
            </a:r>
            <a:r>
              <a:rPr lang="en-US" sz="1600" dirty="0" err="1" smtClean="0"/>
              <a:t>mencapai</a:t>
            </a:r>
            <a:r>
              <a:rPr lang="en-US" sz="1600" dirty="0" smtClean="0"/>
              <a:t> </a:t>
            </a:r>
            <a:r>
              <a:rPr lang="en-US" sz="1600" dirty="0" err="1" smtClean="0"/>
              <a:t>kinerja</a:t>
            </a:r>
            <a:r>
              <a:rPr lang="en-US" sz="1600" dirty="0" smtClean="0"/>
              <a:t> </a:t>
            </a:r>
            <a:endParaRPr lang="en-US" sz="1600" dirty="0"/>
          </a:p>
          <a:p>
            <a:pPr algn="r">
              <a:defRPr/>
            </a:pPr>
            <a:endParaRPr lang="en-US" sz="1600" dirty="0"/>
          </a:p>
        </p:txBody>
      </p:sp>
      <p:sp>
        <p:nvSpPr>
          <p:cNvPr id="58" name="Rectangle 57"/>
          <p:cNvSpPr/>
          <p:nvPr/>
        </p:nvSpPr>
        <p:spPr>
          <a:xfrm>
            <a:off x="2190439" y="233662"/>
            <a:ext cx="48565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 err="1" smtClean="0">
                <a:latin typeface="Calibri" panose="020F0502020204030204" pitchFamily="34" charset="0"/>
                <a:cs typeface="Tahoma" panose="020B0604030504040204" pitchFamily="34" charset="0"/>
              </a:rPr>
              <a:t>Reformasi</a:t>
            </a:r>
            <a:r>
              <a:rPr lang="en-US" sz="3200" b="1" dirty="0" smtClean="0">
                <a:latin typeface="Calibri" panose="020F0502020204030204" pitchFamily="34" charset="0"/>
                <a:cs typeface="Tahoma" panose="020B0604030504040204" pitchFamily="34" charset="0"/>
              </a:rPr>
              <a:t> </a:t>
            </a:r>
            <a:r>
              <a:rPr lang="en-US" sz="3200" b="1" dirty="0" err="1" smtClean="0">
                <a:latin typeface="Calibri" panose="020F0502020204030204" pitchFamily="34" charset="0"/>
                <a:cs typeface="Tahoma" panose="020B0604030504040204" pitchFamily="34" charset="0"/>
              </a:rPr>
              <a:t>Manajemen</a:t>
            </a:r>
            <a:r>
              <a:rPr lang="en-US" sz="3200" b="1" dirty="0" smtClean="0">
                <a:latin typeface="Calibri" panose="020F0502020204030204" pitchFamily="34" charset="0"/>
                <a:cs typeface="Tahoma" panose="020B0604030504040204" pitchFamily="34" charset="0"/>
              </a:rPr>
              <a:t> ASN</a:t>
            </a:r>
            <a:endParaRPr lang="id-ID" sz="3200" dirty="0">
              <a:latin typeface="Calibri" panose="020F0502020204030204" pitchFamily="34" charset="0"/>
            </a:endParaRPr>
          </a:p>
        </p:txBody>
      </p:sp>
      <p:cxnSp>
        <p:nvCxnSpPr>
          <p:cNvPr id="59" name="Straight Arrow Connector 58"/>
          <p:cNvCxnSpPr/>
          <p:nvPr/>
        </p:nvCxnSpPr>
        <p:spPr>
          <a:xfrm flipH="1" flipV="1">
            <a:off x="5499625" y="4070513"/>
            <a:ext cx="456309" cy="122275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 flipV="1">
            <a:off x="5955931" y="4194713"/>
            <a:ext cx="2880320" cy="3652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>
          <a:xfrm>
            <a:off x="5728161" y="3246075"/>
            <a:ext cx="31635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id-ID" sz="1600" dirty="0" smtClean="0"/>
              <a:t>Pen</a:t>
            </a:r>
            <a:r>
              <a:rPr lang="en-US" sz="1600" dirty="0" err="1" smtClean="0"/>
              <a:t>ggajian</a:t>
            </a:r>
            <a:r>
              <a:rPr lang="en-US" sz="1600" dirty="0" smtClean="0"/>
              <a:t> &amp; </a:t>
            </a:r>
            <a:r>
              <a:rPr lang="en-US" sz="1600" dirty="0" err="1" smtClean="0"/>
              <a:t>Tunjangan</a:t>
            </a:r>
            <a:r>
              <a:rPr lang="en-US" sz="1600" dirty="0" smtClean="0"/>
              <a:t> </a:t>
            </a:r>
            <a:r>
              <a:rPr lang="en-US" sz="1600" dirty="0" err="1" smtClean="0"/>
              <a:t>berdasarkan</a:t>
            </a:r>
            <a:r>
              <a:rPr lang="en-US" sz="1600" dirty="0" smtClean="0"/>
              <a:t> </a:t>
            </a:r>
            <a:r>
              <a:rPr lang="en-US" sz="1600" dirty="0" err="1" smtClean="0"/>
              <a:t>beban</a:t>
            </a:r>
            <a:r>
              <a:rPr lang="en-US" sz="1600" dirty="0" smtClean="0"/>
              <a:t>, </a:t>
            </a:r>
            <a:r>
              <a:rPr lang="en-US" sz="1600" dirty="0" err="1" smtClean="0"/>
              <a:t>tanggung</a:t>
            </a:r>
            <a:r>
              <a:rPr lang="en-US" sz="1600" dirty="0" smtClean="0"/>
              <a:t> </a:t>
            </a:r>
            <a:r>
              <a:rPr lang="en-US" sz="1600" dirty="0" err="1" smtClean="0"/>
              <a:t>jawab</a:t>
            </a:r>
            <a:r>
              <a:rPr lang="en-US" sz="1600" dirty="0" smtClean="0"/>
              <a:t> &amp; </a:t>
            </a:r>
            <a:r>
              <a:rPr lang="en-US" sz="1600" dirty="0" err="1" smtClean="0"/>
              <a:t>resiko</a:t>
            </a:r>
            <a:r>
              <a:rPr lang="en-US" sz="1600" dirty="0" smtClean="0"/>
              <a:t> </a:t>
            </a:r>
            <a:r>
              <a:rPr lang="en-US" sz="1600" dirty="0" err="1" smtClean="0"/>
              <a:t>pekerjaan</a:t>
            </a:r>
            <a:endParaRPr lang="en-US" sz="1600" dirty="0"/>
          </a:p>
        </p:txBody>
      </p:sp>
      <p:cxnSp>
        <p:nvCxnSpPr>
          <p:cNvPr id="64" name="Straight Arrow Connector 63"/>
          <p:cNvCxnSpPr/>
          <p:nvPr/>
        </p:nvCxnSpPr>
        <p:spPr>
          <a:xfrm flipH="1" flipV="1">
            <a:off x="5233000" y="4379850"/>
            <a:ext cx="722935" cy="844756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 flipV="1">
            <a:off x="5955931" y="5226532"/>
            <a:ext cx="2880320" cy="3652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5728160" y="4622921"/>
            <a:ext cx="31880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1600" dirty="0" err="1" smtClean="0"/>
              <a:t>Jaminan</a:t>
            </a:r>
            <a:r>
              <a:rPr lang="en-US" sz="1600" dirty="0" smtClean="0"/>
              <a:t> </a:t>
            </a:r>
            <a:r>
              <a:rPr lang="en-US" sz="1600" dirty="0" err="1" smtClean="0"/>
              <a:t>Pensiun</a:t>
            </a:r>
            <a:r>
              <a:rPr lang="en-US" sz="1600" dirty="0" smtClean="0"/>
              <a:t> </a:t>
            </a:r>
            <a:r>
              <a:rPr lang="en-US" sz="1600" dirty="0" err="1" smtClean="0"/>
              <a:t>dan</a:t>
            </a:r>
            <a:r>
              <a:rPr lang="en-US" sz="1600" dirty="0" smtClean="0"/>
              <a:t> </a:t>
            </a:r>
            <a:r>
              <a:rPr lang="en-US" sz="1600" dirty="0" err="1" smtClean="0"/>
              <a:t>Jaminan</a:t>
            </a:r>
            <a:r>
              <a:rPr lang="en-US" sz="1600" dirty="0" smtClean="0"/>
              <a:t> </a:t>
            </a:r>
            <a:r>
              <a:rPr lang="en-US" sz="1600" dirty="0" err="1" smtClean="0"/>
              <a:t>Hari</a:t>
            </a:r>
            <a:r>
              <a:rPr lang="en-US" sz="1600" dirty="0" smtClean="0"/>
              <a:t> </a:t>
            </a:r>
            <a:r>
              <a:rPr lang="en-US" sz="1600" dirty="0" err="1" smtClean="0"/>
              <a:t>Tua</a:t>
            </a:r>
            <a:r>
              <a:rPr lang="en-US" sz="1600" dirty="0" smtClean="0"/>
              <a:t> </a:t>
            </a:r>
            <a:r>
              <a:rPr lang="en-US" sz="1600" dirty="0" err="1" smtClean="0"/>
              <a:t>berdasarkan</a:t>
            </a:r>
            <a:r>
              <a:rPr lang="en-US" sz="1600" dirty="0" smtClean="0"/>
              <a:t> </a:t>
            </a:r>
            <a:r>
              <a:rPr lang="en-US" sz="1600" dirty="0" err="1" smtClean="0"/>
              <a:t>iuran</a:t>
            </a:r>
            <a:r>
              <a:rPr lang="en-US" sz="1600" dirty="0" smtClean="0"/>
              <a:t> </a:t>
            </a:r>
            <a:r>
              <a:rPr lang="en-US" sz="1600" dirty="0" err="1" smtClean="0"/>
              <a:t>pasti</a:t>
            </a:r>
            <a:endParaRPr lang="en-US" sz="1600" dirty="0"/>
          </a:p>
        </p:txBody>
      </p:sp>
      <p:grpSp>
        <p:nvGrpSpPr>
          <p:cNvPr id="68" name="Group 67"/>
          <p:cNvGrpSpPr/>
          <p:nvPr/>
        </p:nvGrpSpPr>
        <p:grpSpPr>
          <a:xfrm>
            <a:off x="0" y="5982949"/>
            <a:ext cx="9144000" cy="875053"/>
            <a:chOff x="0" y="5982947"/>
            <a:chExt cx="9144000" cy="875053"/>
          </a:xfrm>
        </p:grpSpPr>
        <p:grpSp>
          <p:nvGrpSpPr>
            <p:cNvPr id="69" name="Group 68"/>
            <p:cNvGrpSpPr/>
            <p:nvPr/>
          </p:nvGrpSpPr>
          <p:grpSpPr>
            <a:xfrm>
              <a:off x="0" y="6225989"/>
              <a:ext cx="9144000" cy="632011"/>
              <a:chOff x="-1" y="4780006"/>
              <a:chExt cx="9366882" cy="672012"/>
            </a:xfrm>
          </p:grpSpPr>
          <p:pic>
            <p:nvPicPr>
              <p:cNvPr id="71" name="Picture 70"/>
              <p:cNvPicPr>
                <a:picLocks noChangeAspect="1"/>
              </p:cNvPicPr>
              <p:nvPr/>
            </p:nvPicPr>
            <p:blipFill rotWithShape="1"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38678" b="41490"/>
              <a:stretch>
                <a:fillRect/>
              </a:stretch>
            </p:blipFill>
            <p:spPr>
              <a:xfrm>
                <a:off x="-1" y="4780006"/>
                <a:ext cx="5341729" cy="672012"/>
              </a:xfrm>
              <a:prstGeom prst="rect">
                <a:avLst/>
              </a:prstGeom>
            </p:spPr>
          </p:pic>
          <p:pic>
            <p:nvPicPr>
              <p:cNvPr id="72" name="Picture 71"/>
              <p:cNvPicPr>
                <a:picLocks noChangeAspect="1"/>
              </p:cNvPicPr>
              <p:nvPr/>
            </p:nvPicPr>
            <p:blipFill rotWithShape="1"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38678" b="41490"/>
              <a:stretch>
                <a:fillRect/>
              </a:stretch>
            </p:blipFill>
            <p:spPr>
              <a:xfrm>
                <a:off x="4025152" y="4780006"/>
                <a:ext cx="5341729" cy="672011"/>
              </a:xfrm>
              <a:prstGeom prst="rect">
                <a:avLst/>
              </a:prstGeom>
            </p:spPr>
          </p:pic>
        </p:grpSp>
        <p:pic>
          <p:nvPicPr>
            <p:cNvPr id="70" name="Picture 3" descr="Logo Kemenpan2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8329" y="5982947"/>
              <a:ext cx="633271" cy="830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TextBox 6"/>
          <p:cNvSpPr txBox="1"/>
          <p:nvPr/>
        </p:nvSpPr>
        <p:spPr>
          <a:xfrm>
            <a:off x="1675124" y="818437"/>
            <a:ext cx="60022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 smtClean="0"/>
              <a:t>“</a:t>
            </a:r>
            <a:r>
              <a:rPr lang="en-US" sz="2400" i="1" dirty="0" err="1" smtClean="0"/>
              <a:t>Pengelolaan</a:t>
            </a:r>
            <a:r>
              <a:rPr lang="en-US" sz="2400" i="1" dirty="0" smtClean="0"/>
              <a:t> ASN </a:t>
            </a:r>
            <a:r>
              <a:rPr lang="en-US" sz="2400" i="1" dirty="0" err="1"/>
              <a:t>B</a:t>
            </a:r>
            <a:r>
              <a:rPr lang="en-US" sz="2400" i="1" dirty="0" err="1" smtClean="0"/>
              <a:t>erbasiskan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Sistem</a:t>
            </a:r>
            <a:r>
              <a:rPr lang="en-US" sz="2400" i="1" dirty="0" smtClean="0"/>
              <a:t> Merit”</a:t>
            </a:r>
            <a:endParaRPr lang="en-US" sz="2400" i="1" dirty="0"/>
          </a:p>
        </p:txBody>
      </p:sp>
    </p:spTree>
    <p:extLst>
      <p:ext uri="{BB962C8B-B14F-4D97-AF65-F5344CB8AC3E}">
        <p14:creationId xmlns:p14="http://schemas.microsoft.com/office/powerpoint/2010/main" xmlns="" val="878237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8032"/>
            <a:ext cx="8229600" cy="980728"/>
          </a:xfrm>
        </p:spPr>
        <p:txBody>
          <a:bodyPr/>
          <a:lstStyle/>
          <a:p>
            <a:r>
              <a:rPr lang="en-US" dirty="0" err="1" smtClean="0"/>
              <a:t>Peran</a:t>
            </a:r>
            <a:r>
              <a:rPr lang="en-US" dirty="0" smtClean="0"/>
              <a:t> </a:t>
            </a:r>
            <a:r>
              <a:rPr lang="en-US" dirty="0" err="1" smtClean="0"/>
              <a:t>Jabatan</a:t>
            </a:r>
            <a:r>
              <a:rPr lang="en-US" dirty="0" smtClean="0"/>
              <a:t> </a:t>
            </a:r>
            <a:r>
              <a:rPr lang="en-US" dirty="0" err="1" smtClean="0"/>
              <a:t>Fungsional</a:t>
            </a:r>
            <a:endParaRPr lang="id-ID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134989008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832003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Alternate Process 3"/>
          <p:cNvSpPr/>
          <p:nvPr/>
        </p:nvSpPr>
        <p:spPr>
          <a:xfrm>
            <a:off x="138113" y="3671248"/>
            <a:ext cx="8853487" cy="2552131"/>
          </a:xfrm>
          <a:prstGeom prst="flowChartAlternateProcess">
            <a:avLst/>
          </a:prstGeom>
          <a:solidFill>
            <a:schemeClr val="accent5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6387" name="Title 2"/>
          <p:cNvSpPr>
            <a:spLocks noGrp="1"/>
          </p:cNvSpPr>
          <p:nvPr>
            <p:ph type="ctrTitle"/>
          </p:nvPr>
        </p:nvSpPr>
        <p:spPr>
          <a:xfrm>
            <a:off x="1924050" y="4200085"/>
            <a:ext cx="6674040" cy="1490546"/>
          </a:xfrm>
        </p:spPr>
        <p:txBody>
          <a:bodyPr>
            <a:normAutofit/>
          </a:bodyPr>
          <a:lstStyle/>
          <a:p>
            <a:pPr algn="l" eaLnBrk="1" hangingPunct="1"/>
            <a:r>
              <a:rPr lang="en-US" altLang="en-US" b="1" dirty="0" smtClean="0">
                <a:solidFill>
                  <a:schemeClr val="bg1"/>
                </a:solidFill>
              </a:rPr>
              <a:t>TANTANGAN BIROKRASI</a:t>
            </a:r>
            <a:endParaRPr lang="id-ID" altLang="en-US" sz="4000" dirty="0" smtClean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 bwMode="auto">
          <a:xfrm>
            <a:off x="565249" y="4014333"/>
            <a:ext cx="931665" cy="186204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15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+mn-cs"/>
              </a:rPr>
              <a:t>1</a:t>
            </a:r>
            <a:endParaRPr lang="id-ID" sz="115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1619727" y="4200085"/>
            <a:ext cx="82171" cy="14905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80000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Kriteria</a:t>
            </a:r>
            <a:r>
              <a:rPr lang="en-US" dirty="0" smtClean="0"/>
              <a:t> </a:t>
            </a:r>
            <a:r>
              <a:rPr lang="en-US" dirty="0" err="1" smtClean="0"/>
              <a:t>Penetapan</a:t>
            </a:r>
            <a:r>
              <a:rPr lang="en-US" dirty="0" smtClean="0"/>
              <a:t> </a:t>
            </a:r>
            <a:r>
              <a:rPr lang="id-ID" dirty="0" smtClean="0"/>
              <a:t>JF</a:t>
            </a:r>
            <a:endParaRPr lang="id-ID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457200" indent="-457200">
              <a:buFont typeface="+mj-lt"/>
              <a:buAutoNum type="alphaLcPeriod"/>
            </a:pPr>
            <a:r>
              <a:rPr lang="id-ID" dirty="0" smtClean="0"/>
              <a:t>fungsi </a:t>
            </a:r>
            <a:r>
              <a:rPr lang="id-ID" dirty="0"/>
              <a:t>dan tugasnya berkaitan dengan pelaksanaan fungsi dan tugas Instansi Pemerintah; </a:t>
            </a:r>
            <a:endParaRPr lang="en-US" dirty="0" smtClean="0"/>
          </a:p>
          <a:p>
            <a:pPr marL="457200" indent="-457200">
              <a:buFont typeface="+mj-lt"/>
              <a:buAutoNum type="alphaLcPeriod"/>
            </a:pPr>
            <a:r>
              <a:rPr lang="id-ID" dirty="0" smtClean="0"/>
              <a:t>mensyaratkan </a:t>
            </a:r>
            <a:r>
              <a:rPr lang="id-ID" dirty="0"/>
              <a:t>keahlian atau keterampilan tertentu yang dibuktikan dengan sertifikasi dan/atau penilaian tertentu; </a:t>
            </a:r>
          </a:p>
          <a:p>
            <a:pPr marL="457200" indent="-457200">
              <a:buFont typeface="+mj-lt"/>
              <a:buAutoNum type="alphaLcPeriod"/>
            </a:pPr>
            <a:r>
              <a:rPr lang="id-ID" dirty="0" smtClean="0"/>
              <a:t>dapat </a:t>
            </a:r>
            <a:r>
              <a:rPr lang="id-ID" dirty="0"/>
              <a:t>disusun dalam suatu jenjang Jabatan berdasarkan tingkat kesulitan dan kompetensi; </a:t>
            </a:r>
          </a:p>
          <a:p>
            <a:pPr marL="457200" indent="-457200">
              <a:buFont typeface="+mj-lt"/>
              <a:buAutoNum type="alphaLcPeriod"/>
            </a:pPr>
            <a:r>
              <a:rPr lang="id-ID" dirty="0" smtClean="0"/>
              <a:t>pelaksanaan </a:t>
            </a:r>
            <a:r>
              <a:rPr lang="id-ID" dirty="0"/>
              <a:t>tugas yang bersifat mandiri dalam menjalankan tugas profesinya; dan </a:t>
            </a:r>
          </a:p>
          <a:p>
            <a:pPr marL="457200" indent="-457200">
              <a:buFont typeface="+mj-lt"/>
              <a:buAutoNum type="alphaLcPeriod"/>
            </a:pPr>
            <a:r>
              <a:rPr lang="id-ID" dirty="0" smtClean="0"/>
              <a:t>kegiatannya </a:t>
            </a:r>
            <a:r>
              <a:rPr lang="id-ID" dirty="0"/>
              <a:t>dapat diukur dengan satuan nilai atau akumulasi nilai butir-butir kegiatan dalam bentuk angka kredit. </a:t>
            </a:r>
          </a:p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xmlns="" val="1055971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907993430"/>
              </p:ext>
            </p:extLst>
          </p:nvPr>
        </p:nvGraphicFramePr>
        <p:xfrm>
          <a:off x="0" y="433936"/>
          <a:ext cx="9144000" cy="63074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0634"/>
                <a:gridCol w="455132"/>
                <a:gridCol w="8068234"/>
              </a:tblGrid>
              <a:tr h="323841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1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fi-FI" sz="2400" b="1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Perencanaan kebutuhan pegawai sesuai dengan kebutuhan organisasi (1)</a:t>
                      </a:r>
                      <a:endParaRPr lang="fi-FI" sz="24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</a:tr>
              <a:tr h="638557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a.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i-FI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Analisis jabatan dan analisis beban kerja telah dilakukan</a:t>
                      </a:r>
                      <a:endParaRPr lang="fi-FI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638557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b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Perhitungan kebutuhan pegawai telah dilakukan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194798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c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Rencana redistribusi pegawai telah disusun dan diformalkan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182445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d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Proyeksi kebutuhan 5 tahun telah disusun dan diformalkan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1094669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e.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Perhitungan formasi jabatan yang menunjang kinerja utama instansi telah dihitung dan diformalkan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180544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2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id-ID" sz="2400" b="1" u="none" strike="noStrike" dirty="0">
                          <a:effectLst/>
                        </a:rPr>
                        <a:t>Proses penerimaan pegawai transparan, objektif, akuntabel dan bebas KKN (2)</a:t>
                      </a:r>
                      <a:endParaRPr lang="id-ID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</a:tr>
              <a:tr h="456112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a.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effectLst/>
                        </a:rPr>
                        <a:t>Pengumuman penerimaan diinformasikan secara luas kepada masyarakat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</a:tr>
              <a:tr h="273667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b.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effectLst/>
                        </a:rPr>
                        <a:t>Pendaftaran dapat dilakukan dengan mudah, cepat dan pasti (online)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</a:tr>
              <a:tr h="273667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c.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effectLst/>
                        </a:rPr>
                        <a:t>Persyaratan jelas, tidak diskriminatif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</a:tr>
              <a:tr h="182445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d.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effectLst/>
                        </a:rPr>
                        <a:t>Proses seleksi transparan, objektif, adil, akuntabel dan bebas KKN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</a:tr>
              <a:tr h="182445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e.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 dirty="0">
                          <a:effectLst/>
                        </a:rPr>
                        <a:t>Pengumuman hasil seleksi diinformasikan secara terbuka</a:t>
                      </a:r>
                      <a:endParaRPr lang="id-ID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801" marR="3801" marT="3801" marB="0"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914400" y="76200"/>
            <a:ext cx="79110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solidFill>
                  <a:srgbClr val="0070C0"/>
                </a:solidFill>
              </a:rPr>
              <a:t>DAFTAR PENILAIAN PENATAAN SISTEM MANAJEMEN SDM</a:t>
            </a:r>
            <a:endParaRPr lang="id-ID" sz="20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9960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54331470"/>
              </p:ext>
            </p:extLst>
          </p:nvPr>
        </p:nvGraphicFramePr>
        <p:xfrm>
          <a:off x="304800" y="431368"/>
          <a:ext cx="8534399" cy="61699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9256"/>
                <a:gridCol w="424787"/>
                <a:gridCol w="7530356"/>
              </a:tblGrid>
              <a:tr h="71687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3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id-ID" sz="2400" b="1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Pengembangan pegawai berbasis kompetensi (1)</a:t>
                      </a:r>
                      <a:endParaRPr lang="id-ID" sz="24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</a:tr>
              <a:tr h="143373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a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Telah ada standar kompetensi jabatan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b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Telah dilakukan asessment pegawai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573493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c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i-FI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Telah diidentifikasi kebutuhan pengembangan kompetensi</a:t>
                      </a:r>
                      <a:endParaRPr lang="fi-FI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799007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d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Telah disusun rencana pengembangan kompetensi dengan dukungan anggaran yang mencukupi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716866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e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Telah dilakukan pengembangan pegawai berbasis kompetensi sesuai dengan rencana  dan kebutuhan pengembangan kompetensi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430120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f.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Telah dilakukan monitoring dan evaluasi pengembangan pegawai berbasis kompetensi secara berkala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71687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effectLst/>
                        </a:rPr>
                        <a:t>4</a:t>
                      </a:r>
                      <a:endParaRPr lang="id-ID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id-ID" sz="2400" b="1" u="none" strike="noStrike" dirty="0">
                          <a:effectLst/>
                        </a:rPr>
                        <a:t>Promosi jabatan dilakukan secara terbuka (6)</a:t>
                      </a:r>
                      <a:endParaRPr lang="id-ID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</a:tr>
              <a:tr h="143373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a.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effectLst/>
                        </a:rPr>
                        <a:t>Kebijakan promosi terbuka telah ditetapkan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</a:tr>
              <a:tr h="683263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b.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i-FI" sz="2000" u="none" strike="noStrike">
                          <a:effectLst/>
                        </a:rPr>
                        <a:t>Promosi terbuka pengisian jabatan pimpinan tinggi telah dilaksanakan</a:t>
                      </a:r>
                      <a:endParaRPr lang="fi-FI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</a:tr>
              <a:tr h="143373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c.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effectLst/>
                        </a:rPr>
                        <a:t>Promosi terbuka dilakukan secara kompetitif dan obyektif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</a:tr>
              <a:tr h="143373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d.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effectLst/>
                        </a:rPr>
                        <a:t>Promosi terbuka dilakukan oleh panitia seleksi yang independen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</a:tr>
              <a:tr h="143373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e.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 dirty="0">
                          <a:effectLst/>
                        </a:rPr>
                        <a:t>Hasil setiap tahapan seleksi diumumkan secara terbuka</a:t>
                      </a:r>
                      <a:endParaRPr lang="id-ID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987" marR="2987" marT="2987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87447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80191385"/>
              </p:ext>
            </p:extLst>
          </p:nvPr>
        </p:nvGraphicFramePr>
        <p:xfrm>
          <a:off x="0" y="-27384"/>
          <a:ext cx="9144000" cy="69820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0635"/>
                <a:gridCol w="455127"/>
                <a:gridCol w="8068238"/>
              </a:tblGrid>
              <a:tr h="49793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5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id-ID" sz="2400" b="1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Penetapan kinerja individu (2)</a:t>
                      </a:r>
                      <a:endParaRPr lang="id-ID" sz="24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</a:tr>
              <a:tr h="398343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a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Penerapan </a:t>
                      </a:r>
                      <a:r>
                        <a:rPr lang="en-US" sz="2000" u="none" strike="noStrike" dirty="0" smtClean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p</a:t>
                      </a:r>
                      <a:r>
                        <a:rPr lang="id-ID" sz="2000" u="none" strike="noStrike" dirty="0" smtClean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enetapan </a:t>
                      </a:r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kinerja individu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398343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b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Terdapat penilaian kinerja individu yang terkait dengan kinerja organisasi 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529049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c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Ukuran kinerja individu telah memiliki kesesuaian dengan indikator kinerja individu level diatasnya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495335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d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Pengukuran kinerja individu dilakukan secara periodik</a:t>
                      </a:r>
                      <a:endParaRPr lang="sv-SE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248964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e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ES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Telah dilakukan monitoring dan evaluasi atas pencapaian kinerja individu.</a:t>
                      </a:r>
                      <a:endParaRPr lang="es-ES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588697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f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Hasil penilaian kinerja individu telah dijadikan dasar untuk pengembangan karir individu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529049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g.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Capaian kinerja individu telah dijadikan dasar untuk pemberian tunjangan kinerja 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93362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6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id-ID" sz="2400" b="1" u="none" strike="noStrike" dirty="0">
                          <a:effectLst/>
                        </a:rPr>
                        <a:t>Penegakan aturan disiplin/kode etik/kode perilaku pegawai (1)</a:t>
                      </a:r>
                      <a:endParaRPr lang="id-ID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</a:tr>
              <a:tr h="99586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effectLst/>
                        </a:rPr>
                        <a:t>a.</a:t>
                      </a:r>
                      <a:endParaRPr lang="id-ID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effectLst/>
                        </a:rPr>
                        <a:t> Aturan disiplin/kode etik/kode perilaku instansi telah ditetapkan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</a:tr>
              <a:tr h="398343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b.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2000" u="none" strike="noStrike">
                          <a:effectLst/>
                        </a:rPr>
                        <a:t> Aturan disiplin/kode etik/kode perilaku instansi telah diimplementasikan</a:t>
                      </a:r>
                      <a:endParaRPr lang="sv-SE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</a:tr>
              <a:tr h="298757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c.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effectLst/>
                        </a:rPr>
                        <a:t>Adanya monitoring dan evaluasi atas pelaksanaan aturan disiplin/kode etik/kode perilaku instansi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</a:tr>
              <a:tr h="398343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 </a:t>
                      </a:r>
                      <a:endParaRPr lang="id-ID" sz="2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effectLst/>
                        </a:rPr>
                        <a:t>d.</a:t>
                      </a:r>
                      <a:endParaRPr lang="id-ID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 dirty="0">
                          <a:effectLst/>
                        </a:rPr>
                        <a:t>Adanya pemberian sanksi dan imbalan (reward)</a:t>
                      </a:r>
                      <a:endParaRPr lang="id-ID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075" marR="2075" marT="2075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356404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22403417"/>
              </p:ext>
            </p:extLst>
          </p:nvPr>
        </p:nvGraphicFramePr>
        <p:xfrm>
          <a:off x="304800" y="1874194"/>
          <a:ext cx="8610599" cy="33074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4430"/>
                <a:gridCol w="428582"/>
                <a:gridCol w="7597587"/>
              </a:tblGrid>
              <a:tr h="325544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7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id-ID" sz="2400" b="1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Pelaksanaan evaluasi jabatan (1)</a:t>
                      </a:r>
                      <a:endParaRPr lang="id-ID" sz="24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</a:tr>
              <a:tr h="272124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a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Informasi faktor jabatan telah disusun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319329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b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Peta jabatan telah ditetapkan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326587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c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Kelas jabatan telah ditetapkan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325544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8.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id-ID" sz="2400" b="1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Sistem Informasi Kepegawaian (1)</a:t>
                      </a:r>
                      <a:endParaRPr lang="id-ID" sz="24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</a:tr>
              <a:tr h="272124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a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Sistem informasi kepegawaian telah dibangun sesuai kebutuhan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272124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b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Sistem informasi kepegawaian dapat diakses oleh pegawai</a:t>
                      </a:r>
                      <a:endParaRPr lang="pt-BR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371584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c.</a:t>
                      </a:r>
                      <a:endParaRPr lang="id-ID" sz="2000" b="0" i="0" u="none" strike="noStrike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Sistem informasi kepegawaian terus dimutakhirkan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539226"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 </a:t>
                      </a:r>
                      <a:endParaRPr lang="id-ID" sz="2000" b="1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d.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id-ID" sz="2000" u="none" strike="noStrike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Sistem informasi kepegawaian digunakan sebagai pendukung pengambilan kebijakan manajemen SDM</a:t>
                      </a:r>
                      <a:endParaRPr lang="id-ID" sz="2000" b="0" i="0" u="none" strike="noStrike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5731" marR="5731" marT="5731" marB="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340323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>
          <a:xfrm>
            <a:off x="1508788" y="4420336"/>
            <a:ext cx="3369589" cy="20131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1526383" y="2217823"/>
            <a:ext cx="3369589" cy="20274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5296147" y="2217823"/>
            <a:ext cx="3369589" cy="202743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5235186" y="4452499"/>
            <a:ext cx="3369589" cy="19858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5306119" y="2192300"/>
            <a:ext cx="3224591" cy="1970300"/>
            <a:chOff x="1458301" y="2266730"/>
            <a:chExt cx="3224591" cy="1970300"/>
          </a:xfrm>
        </p:grpSpPr>
        <p:grpSp>
          <p:nvGrpSpPr>
            <p:cNvPr id="10" name="Group 9"/>
            <p:cNvGrpSpPr/>
            <p:nvPr/>
          </p:nvGrpSpPr>
          <p:grpSpPr>
            <a:xfrm>
              <a:off x="1458301" y="2266730"/>
              <a:ext cx="2734247" cy="1323439"/>
              <a:chOff x="1781031" y="2347413"/>
              <a:chExt cx="2734247" cy="1323439"/>
            </a:xfrm>
          </p:grpSpPr>
          <p:sp>
            <p:nvSpPr>
              <p:cNvPr id="8" name="TextBox 7"/>
              <p:cNvSpPr txBox="1"/>
              <p:nvPr/>
            </p:nvSpPr>
            <p:spPr>
              <a:xfrm>
                <a:off x="1781031" y="2347413"/>
                <a:ext cx="600502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0" b="1" dirty="0" smtClean="0">
                    <a:ln>
                      <a:solidFill>
                        <a:schemeClr val="tx1"/>
                      </a:solidFill>
                    </a:ln>
                    <a:solidFill>
                      <a:schemeClr val="bg1"/>
                    </a:solidFill>
                  </a:rPr>
                  <a:t>1</a:t>
                </a:r>
                <a:endParaRPr lang="en-US" sz="8000" b="1" dirty="0">
                  <a:ln>
                    <a:solidFill>
                      <a:schemeClr val="tx1"/>
                    </a:solidFill>
                  </a:ln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2406700" y="2555516"/>
                <a:ext cx="2108578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chemeClr val="bg1"/>
                    </a:solidFill>
                  </a:rPr>
                  <a:t>KOMPETEN- KUALIFIKASI SESUAI &amp; BERKNERJA</a:t>
                </a:r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1" name="TextBox 10"/>
            <p:cNvSpPr txBox="1"/>
            <p:nvPr/>
          </p:nvSpPr>
          <p:spPr>
            <a:xfrm>
              <a:off x="1610651" y="3775365"/>
              <a:ext cx="307224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smtClean="0">
                  <a:solidFill>
                    <a:schemeClr val="bg1"/>
                  </a:solidFill>
                </a:rPr>
                <a:t>PROMOSI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244830" y="4465335"/>
            <a:ext cx="3393972" cy="1854429"/>
            <a:chOff x="4849998" y="2307671"/>
            <a:chExt cx="3393972" cy="1854429"/>
          </a:xfrm>
        </p:grpSpPr>
        <p:grpSp>
          <p:nvGrpSpPr>
            <p:cNvPr id="12" name="Group 11"/>
            <p:cNvGrpSpPr/>
            <p:nvPr/>
          </p:nvGrpSpPr>
          <p:grpSpPr>
            <a:xfrm>
              <a:off x="4849998" y="2307671"/>
              <a:ext cx="3363492" cy="1323439"/>
              <a:chOff x="1750551" y="2347413"/>
              <a:chExt cx="3363492" cy="1323439"/>
            </a:xfrm>
          </p:grpSpPr>
          <p:sp>
            <p:nvSpPr>
              <p:cNvPr id="13" name="TextBox 12"/>
              <p:cNvSpPr txBox="1"/>
              <p:nvPr/>
            </p:nvSpPr>
            <p:spPr>
              <a:xfrm>
                <a:off x="1750551" y="2347413"/>
                <a:ext cx="600502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0" b="1" dirty="0" smtClean="0">
                    <a:ln>
                      <a:solidFill>
                        <a:schemeClr val="tx1"/>
                      </a:solidFill>
                    </a:ln>
                    <a:solidFill>
                      <a:schemeClr val="bg1"/>
                    </a:solidFill>
                  </a:rPr>
                  <a:t>2</a:t>
                </a:r>
                <a:endParaRPr lang="en-US" sz="8000" b="1" dirty="0">
                  <a:ln>
                    <a:solidFill>
                      <a:schemeClr val="tx1"/>
                    </a:solidFill>
                  </a:ln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2442492" y="2515150"/>
                <a:ext cx="2671551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chemeClr val="bg1"/>
                    </a:solidFill>
                  </a:rPr>
                  <a:t>TIDAK KOMPETEN-KUALIFIKASI TIDAK SESUAI NAMUN BERKINERJA</a:t>
                </a:r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7" name="TextBox 16"/>
            <p:cNvSpPr txBox="1"/>
            <p:nvPr/>
          </p:nvSpPr>
          <p:spPr>
            <a:xfrm>
              <a:off x="5087921" y="3638880"/>
              <a:ext cx="315604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dirty="0" smtClean="0">
                  <a:solidFill>
                    <a:schemeClr val="bg1"/>
                  </a:solidFill>
                </a:rPr>
                <a:t>DIKLAT</a:t>
              </a:r>
              <a:endParaRPr lang="en-US" sz="2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681349" y="2240921"/>
            <a:ext cx="3272889" cy="1903166"/>
            <a:chOff x="1412581" y="4464199"/>
            <a:chExt cx="3272889" cy="1903166"/>
          </a:xfrm>
        </p:grpSpPr>
        <p:grpSp>
          <p:nvGrpSpPr>
            <p:cNvPr id="18" name="Group 17"/>
            <p:cNvGrpSpPr/>
            <p:nvPr/>
          </p:nvGrpSpPr>
          <p:grpSpPr>
            <a:xfrm>
              <a:off x="1412581" y="4464199"/>
              <a:ext cx="3092492" cy="1381186"/>
              <a:chOff x="1735311" y="2443523"/>
              <a:chExt cx="3092492" cy="1381186"/>
            </a:xfrm>
          </p:grpSpPr>
          <p:sp>
            <p:nvSpPr>
              <p:cNvPr id="19" name="TextBox 18"/>
              <p:cNvSpPr txBox="1"/>
              <p:nvPr/>
            </p:nvSpPr>
            <p:spPr>
              <a:xfrm>
                <a:off x="1735311" y="2443523"/>
                <a:ext cx="600502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0" b="1" dirty="0">
                    <a:ln>
                      <a:solidFill>
                        <a:schemeClr val="tx1"/>
                      </a:solidFill>
                    </a:ln>
                    <a:solidFill>
                      <a:schemeClr val="bg1"/>
                    </a:solidFill>
                  </a:rPr>
                  <a:t>3</a:t>
                </a: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2381533" y="2624380"/>
                <a:ext cx="2446270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chemeClr val="bg1"/>
                    </a:solidFill>
                  </a:rPr>
                  <a:t>KOMPETEN- KUALIFIKASI SESUAI, TAPI TIDAK BERKINERJA</a:t>
                </a:r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1" name="TextBox 20"/>
            <p:cNvSpPr txBox="1"/>
            <p:nvPr/>
          </p:nvSpPr>
          <p:spPr>
            <a:xfrm>
              <a:off x="1529421" y="5905700"/>
              <a:ext cx="315604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smtClean="0">
                  <a:solidFill>
                    <a:schemeClr val="bg1"/>
                  </a:solidFill>
                </a:rPr>
                <a:t>MUTASI/ROTASI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640719" y="4406444"/>
            <a:ext cx="3353644" cy="1917230"/>
            <a:chOff x="4950761" y="4367691"/>
            <a:chExt cx="3353644" cy="1917230"/>
          </a:xfrm>
        </p:grpSpPr>
        <p:grpSp>
          <p:nvGrpSpPr>
            <p:cNvPr id="22" name="Group 21"/>
            <p:cNvGrpSpPr/>
            <p:nvPr/>
          </p:nvGrpSpPr>
          <p:grpSpPr>
            <a:xfrm>
              <a:off x="4950761" y="4367691"/>
              <a:ext cx="3353644" cy="1323439"/>
              <a:chOff x="1735311" y="2347413"/>
              <a:chExt cx="3353644" cy="1323439"/>
            </a:xfrm>
          </p:grpSpPr>
          <p:sp>
            <p:nvSpPr>
              <p:cNvPr id="23" name="TextBox 22"/>
              <p:cNvSpPr txBox="1"/>
              <p:nvPr/>
            </p:nvSpPr>
            <p:spPr>
              <a:xfrm>
                <a:off x="1735311" y="2347413"/>
                <a:ext cx="600502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0" b="1" dirty="0" smtClean="0">
                    <a:ln>
                      <a:solidFill>
                        <a:schemeClr val="tx1"/>
                      </a:solidFill>
                    </a:ln>
                    <a:solidFill>
                      <a:schemeClr val="bg1"/>
                    </a:solidFill>
                  </a:rPr>
                  <a:t>4</a:t>
                </a:r>
                <a:endParaRPr lang="en-US" sz="8000" b="1" dirty="0">
                  <a:ln>
                    <a:solidFill>
                      <a:schemeClr val="tx1"/>
                    </a:solidFill>
                  </a:ln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2381532" y="2540317"/>
                <a:ext cx="2707423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chemeClr val="bg1"/>
                    </a:solidFill>
                  </a:rPr>
                  <a:t>TIDAK KOMPETEN-KUALIFIKASI TIDAK SESUAI &amp; TIDAK BERKINERJA</a:t>
                </a:r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5" name="TextBox 24"/>
            <p:cNvSpPr txBox="1"/>
            <p:nvPr/>
          </p:nvSpPr>
          <p:spPr>
            <a:xfrm>
              <a:off x="5194422" y="5761701"/>
              <a:ext cx="301906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 smtClean="0">
                  <a:solidFill>
                    <a:schemeClr val="bg1"/>
                  </a:solidFill>
                </a:rPr>
                <a:t>RASIONALISASI</a:t>
              </a:r>
              <a:endParaRPr lang="en-US" sz="2800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255564" y="141691"/>
            <a:ext cx="869793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2000" dirty="0" smtClean="0"/>
              <a:t>PEMETAAN KINERJA &amp; KUALIFIKASI-KOMPETENSI PEGAWAI ASN </a:t>
            </a:r>
          </a:p>
          <a:p>
            <a:pPr algn="ctr"/>
            <a:r>
              <a:rPr lang="id-ID" sz="2000" dirty="0" smtClean="0"/>
              <a:t>Pejabat Pembina Kepegawaian (PPK) Wajib Melakukan Pemetaan Kualifikasi &amp; Kompetensi ASN  </a:t>
            </a:r>
            <a:endParaRPr lang="id-ID" sz="2000" dirty="0"/>
          </a:p>
        </p:txBody>
      </p:sp>
      <p:cxnSp>
        <p:nvCxnSpPr>
          <p:cNvPr id="16" name="Straight Arrow Connector 15"/>
          <p:cNvCxnSpPr/>
          <p:nvPr/>
        </p:nvCxnSpPr>
        <p:spPr>
          <a:xfrm flipH="1">
            <a:off x="5090037" y="2086530"/>
            <a:ext cx="1" cy="4475635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5235185" y="1590204"/>
            <a:ext cx="3369589" cy="40011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000" b="1" dirty="0" smtClean="0"/>
              <a:t>BERKINERJA</a:t>
            </a:r>
            <a:endParaRPr lang="en-US" sz="2000" b="1" dirty="0"/>
          </a:p>
        </p:txBody>
      </p:sp>
      <p:sp>
        <p:nvSpPr>
          <p:cNvPr id="37" name="Rectangle 36"/>
          <p:cNvSpPr/>
          <p:nvPr/>
        </p:nvSpPr>
        <p:spPr>
          <a:xfrm>
            <a:off x="1579669" y="1590204"/>
            <a:ext cx="3369589" cy="40011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000" b="1" dirty="0" smtClean="0"/>
              <a:t>TIDAK BERKINERJA</a:t>
            </a:r>
            <a:endParaRPr lang="en-US" sz="2000" b="1" dirty="0"/>
          </a:p>
        </p:txBody>
      </p:sp>
      <p:sp>
        <p:nvSpPr>
          <p:cNvPr id="38" name="Rectangle 37"/>
          <p:cNvSpPr/>
          <p:nvPr/>
        </p:nvSpPr>
        <p:spPr>
          <a:xfrm rot="16200000">
            <a:off x="-99272" y="2765159"/>
            <a:ext cx="2036864" cy="92333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 dirty="0" smtClean="0"/>
              <a:t>KOMPETEN-KULAIFIKASI  SESUAI</a:t>
            </a:r>
            <a:endParaRPr lang="en-US" b="1" dirty="0"/>
          </a:p>
        </p:txBody>
      </p:sp>
      <p:sp>
        <p:nvSpPr>
          <p:cNvPr id="39" name="Rectangle 38"/>
          <p:cNvSpPr/>
          <p:nvPr/>
        </p:nvSpPr>
        <p:spPr>
          <a:xfrm rot="16200000">
            <a:off x="-117290" y="4917491"/>
            <a:ext cx="2036865" cy="92333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 dirty="0" smtClean="0"/>
              <a:t>T KOMPETEN-KUALIFIKASI TIDAK SESUAI</a:t>
            </a:r>
            <a:endParaRPr lang="en-US" b="1" dirty="0"/>
          </a:p>
        </p:txBody>
      </p:sp>
      <p:cxnSp>
        <p:nvCxnSpPr>
          <p:cNvPr id="46" name="Straight Arrow Connector 45"/>
          <p:cNvCxnSpPr/>
          <p:nvPr/>
        </p:nvCxnSpPr>
        <p:spPr>
          <a:xfrm>
            <a:off x="1420571" y="4338015"/>
            <a:ext cx="7329352" cy="0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2677131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sosceles Triangle 16"/>
          <p:cNvSpPr/>
          <p:nvPr/>
        </p:nvSpPr>
        <p:spPr>
          <a:xfrm>
            <a:off x="1866781" y="1066800"/>
            <a:ext cx="5461000" cy="5461000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" name="Title 1"/>
          <p:cNvSpPr txBox="1">
            <a:spLocks/>
          </p:cNvSpPr>
          <p:nvPr/>
        </p:nvSpPr>
        <p:spPr>
          <a:xfrm>
            <a:off x="762000" y="228600"/>
            <a:ext cx="7772400" cy="762000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9pPr>
          </a:lstStyle>
          <a:p>
            <a:pPr algn="ctr"/>
            <a:r>
              <a:rPr lang="en-US" sz="3600" b="1" dirty="0" smtClean="0">
                <a:solidFill>
                  <a:srgbClr val="FF0000"/>
                </a:solidFill>
              </a:rPr>
              <a:t>POLA KARIR PEGAWAI ASN</a:t>
            </a:r>
            <a:endParaRPr lang="en-US" sz="3600" b="1" dirty="0">
              <a:solidFill>
                <a:srgbClr val="FF0000"/>
              </a:solidFill>
            </a:endParaRPr>
          </a:p>
        </p:txBody>
      </p:sp>
      <p:sp>
        <p:nvSpPr>
          <p:cNvPr id="12" name="Isosceles Triangle 11"/>
          <p:cNvSpPr/>
          <p:nvPr/>
        </p:nvSpPr>
        <p:spPr>
          <a:xfrm>
            <a:off x="4768292" y="3505199"/>
            <a:ext cx="2136779" cy="2229929"/>
          </a:xfrm>
          <a:prstGeom prst="triangle">
            <a:avLst>
              <a:gd name="adj" fmla="val 47373"/>
            </a:avLst>
          </a:prstGeom>
          <a:solidFill>
            <a:srgbClr val="92D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Isosceles Triangle 14"/>
          <p:cNvSpPr/>
          <p:nvPr/>
        </p:nvSpPr>
        <p:spPr>
          <a:xfrm>
            <a:off x="4008338" y="1013660"/>
            <a:ext cx="1135044" cy="1147965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TextBox 31"/>
          <p:cNvSpPr txBox="1"/>
          <p:nvPr/>
        </p:nvSpPr>
        <p:spPr>
          <a:xfrm>
            <a:off x="4155097" y="2286000"/>
            <a:ext cx="9882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ADYA</a:t>
            </a:r>
            <a:endParaRPr lang="en-US" dirty="0"/>
          </a:p>
        </p:txBody>
      </p:sp>
      <p:sp>
        <p:nvSpPr>
          <p:cNvPr id="34" name="Isosceles Triangle 33"/>
          <p:cNvSpPr/>
          <p:nvPr/>
        </p:nvSpPr>
        <p:spPr>
          <a:xfrm>
            <a:off x="4664958" y="4114800"/>
            <a:ext cx="1812042" cy="1881940"/>
          </a:xfrm>
          <a:prstGeom prst="triangle">
            <a:avLst>
              <a:gd name="adj" fmla="val 44458"/>
            </a:avLst>
          </a:prstGeom>
          <a:solidFill>
            <a:srgbClr val="FFFF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5" name="TextBox 34"/>
          <p:cNvSpPr txBox="1"/>
          <p:nvPr/>
        </p:nvSpPr>
        <p:spPr>
          <a:xfrm>
            <a:off x="4596573" y="5029200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KETRAMPILAN</a:t>
            </a:r>
            <a:endParaRPr lang="en-US" dirty="0"/>
          </a:p>
        </p:txBody>
      </p:sp>
      <p:sp>
        <p:nvSpPr>
          <p:cNvPr id="47" name="Up Arrow 46"/>
          <p:cNvSpPr/>
          <p:nvPr/>
        </p:nvSpPr>
        <p:spPr>
          <a:xfrm>
            <a:off x="3238381" y="4495800"/>
            <a:ext cx="228600" cy="106680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ight Brace 49"/>
          <p:cNvSpPr/>
          <p:nvPr/>
        </p:nvSpPr>
        <p:spPr>
          <a:xfrm>
            <a:off x="7378581" y="3472340"/>
            <a:ext cx="631116" cy="2547460"/>
          </a:xfrm>
          <a:prstGeom prst="rightBrace">
            <a:avLst>
              <a:gd name="adj1" fmla="val 8333"/>
              <a:gd name="adj2" fmla="val 52422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/>
          <p:cNvSpPr txBox="1"/>
          <p:nvPr/>
        </p:nvSpPr>
        <p:spPr>
          <a:xfrm>
            <a:off x="8064259" y="4686372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PPPK</a:t>
            </a:r>
            <a:endParaRPr lang="en-US" b="1" dirty="0"/>
          </a:p>
        </p:txBody>
      </p:sp>
      <p:sp>
        <p:nvSpPr>
          <p:cNvPr id="52" name="Left Brace 51"/>
          <p:cNvSpPr/>
          <p:nvPr/>
        </p:nvSpPr>
        <p:spPr>
          <a:xfrm>
            <a:off x="1050429" y="1066800"/>
            <a:ext cx="740152" cy="5396118"/>
          </a:xfrm>
          <a:prstGeom prst="leftBrac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/>
          <p:cNvSpPr txBox="1"/>
          <p:nvPr/>
        </p:nvSpPr>
        <p:spPr>
          <a:xfrm>
            <a:off x="224810" y="3566563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PNS</a:t>
            </a:r>
            <a:endParaRPr lang="en-US" b="1" dirty="0"/>
          </a:p>
        </p:txBody>
      </p:sp>
      <p:sp>
        <p:nvSpPr>
          <p:cNvPr id="54" name="Right Brace 53"/>
          <p:cNvSpPr/>
          <p:nvPr/>
        </p:nvSpPr>
        <p:spPr>
          <a:xfrm>
            <a:off x="7391400" y="1066800"/>
            <a:ext cx="631116" cy="1822312"/>
          </a:xfrm>
          <a:prstGeom prst="rightBrace">
            <a:avLst>
              <a:gd name="adj1" fmla="val 8333"/>
              <a:gd name="adj2" fmla="val 52422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/>
          <p:cNvSpPr txBox="1"/>
          <p:nvPr/>
        </p:nvSpPr>
        <p:spPr>
          <a:xfrm>
            <a:off x="8216659" y="1828800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PPPK</a:t>
            </a:r>
            <a:endParaRPr lang="en-US" b="1" dirty="0"/>
          </a:p>
        </p:txBody>
      </p:sp>
      <p:sp>
        <p:nvSpPr>
          <p:cNvPr id="56" name="Trapezoid 55"/>
          <p:cNvSpPr/>
          <p:nvPr/>
        </p:nvSpPr>
        <p:spPr>
          <a:xfrm>
            <a:off x="3365933" y="2842460"/>
            <a:ext cx="2438400" cy="637078"/>
          </a:xfrm>
          <a:prstGeom prst="trapezoid">
            <a:avLst>
              <a:gd name="adj" fmla="val 47326"/>
            </a:avLst>
          </a:prstGeom>
          <a:solidFill>
            <a:srgbClr val="CC66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3" name="TextBox 32"/>
          <p:cNvSpPr txBox="1"/>
          <p:nvPr/>
        </p:nvSpPr>
        <p:spPr>
          <a:xfrm>
            <a:off x="4000381" y="2983468"/>
            <a:ext cx="1266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RATAMA</a:t>
            </a:r>
            <a:endParaRPr lang="en-US" dirty="0"/>
          </a:p>
        </p:txBody>
      </p:sp>
      <p:cxnSp>
        <p:nvCxnSpPr>
          <p:cNvPr id="60" name="Straight Connector 59"/>
          <p:cNvCxnSpPr/>
          <p:nvPr/>
        </p:nvCxnSpPr>
        <p:spPr>
          <a:xfrm flipV="1">
            <a:off x="1790581" y="1066800"/>
            <a:ext cx="5588000" cy="31750"/>
          </a:xfrm>
          <a:prstGeom prst="line">
            <a:avLst/>
          </a:prstGeom>
          <a:ln w="222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 flipV="1">
            <a:off x="5600581" y="2877582"/>
            <a:ext cx="1702904" cy="23060"/>
          </a:xfrm>
          <a:prstGeom prst="line">
            <a:avLst/>
          </a:prstGeom>
          <a:ln w="222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 flipV="1">
            <a:off x="5752981" y="3482140"/>
            <a:ext cx="1702904" cy="23060"/>
          </a:xfrm>
          <a:prstGeom prst="line">
            <a:avLst/>
          </a:prstGeom>
          <a:ln w="222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Isosceles Triangle 36"/>
          <p:cNvSpPr/>
          <p:nvPr/>
        </p:nvSpPr>
        <p:spPr>
          <a:xfrm>
            <a:off x="1790819" y="3508497"/>
            <a:ext cx="2857381" cy="3019304"/>
          </a:xfrm>
          <a:prstGeom prst="triangle">
            <a:avLst>
              <a:gd name="adj" fmla="val 55769"/>
            </a:avLst>
          </a:prstGeom>
          <a:solidFill>
            <a:srgbClr val="FF99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2" name="Trapezoid 41"/>
          <p:cNvSpPr/>
          <p:nvPr/>
        </p:nvSpPr>
        <p:spPr>
          <a:xfrm>
            <a:off x="1834711" y="5549663"/>
            <a:ext cx="2879019" cy="978137"/>
          </a:xfrm>
          <a:prstGeom prst="trapezoid">
            <a:avLst>
              <a:gd name="adj" fmla="val 47326"/>
            </a:avLst>
          </a:pr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8" name="TextBox 27"/>
          <p:cNvSpPr txBox="1"/>
          <p:nvPr/>
        </p:nvSpPr>
        <p:spPr>
          <a:xfrm>
            <a:off x="2472829" y="5867400"/>
            <a:ext cx="1556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ELAKSANA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2613620" y="4953000"/>
            <a:ext cx="1501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ENGAWAS</a:t>
            </a:r>
            <a:endParaRPr lang="en-US" dirty="0"/>
          </a:p>
        </p:txBody>
      </p:sp>
      <p:sp>
        <p:nvSpPr>
          <p:cNvPr id="38" name="Isosceles Triangle 37"/>
          <p:cNvSpPr/>
          <p:nvPr/>
        </p:nvSpPr>
        <p:spPr>
          <a:xfrm>
            <a:off x="2778090" y="3519294"/>
            <a:ext cx="1064076" cy="1095159"/>
          </a:xfrm>
          <a:prstGeom prst="triangle">
            <a:avLst>
              <a:gd name="adj" fmla="val 55769"/>
            </a:avLst>
          </a:prstGeom>
          <a:solidFill>
            <a:srgbClr val="FFFF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Right Brace 39"/>
          <p:cNvSpPr/>
          <p:nvPr/>
        </p:nvSpPr>
        <p:spPr>
          <a:xfrm flipH="1">
            <a:off x="2968177" y="1098550"/>
            <a:ext cx="308420" cy="2406650"/>
          </a:xfrm>
          <a:prstGeom prst="rightBrace">
            <a:avLst>
              <a:gd name="adj1" fmla="val 8333"/>
              <a:gd name="adj2" fmla="val 52422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1658620" y="1905000"/>
            <a:ext cx="131318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 smtClean="0">
                <a:solidFill>
                  <a:srgbClr val="FF0000"/>
                </a:solidFill>
              </a:rPr>
              <a:t>JABATAN</a:t>
            </a:r>
          </a:p>
          <a:p>
            <a:pPr algn="r"/>
            <a:r>
              <a:rPr lang="en-US" b="1" dirty="0" smtClean="0">
                <a:solidFill>
                  <a:srgbClr val="FF0000"/>
                </a:solidFill>
              </a:rPr>
              <a:t>PIMPINAN</a:t>
            </a:r>
            <a:endParaRPr lang="en-US" b="1" dirty="0">
              <a:solidFill>
                <a:srgbClr val="FF0000"/>
              </a:solidFill>
            </a:endParaRPr>
          </a:p>
          <a:p>
            <a:pPr algn="r"/>
            <a:r>
              <a:rPr lang="en-US" b="1" dirty="0" smtClean="0">
                <a:solidFill>
                  <a:srgbClr val="FF0000"/>
                </a:solidFill>
              </a:rPr>
              <a:t>TINGGI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62000" y="4447833"/>
            <a:ext cx="1851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FF0000"/>
                </a:solidFill>
              </a:rPr>
              <a:t>JABATAN</a:t>
            </a:r>
          </a:p>
          <a:p>
            <a:pPr algn="ctr"/>
            <a:r>
              <a:rPr lang="en-US" b="1" dirty="0" smtClean="0">
                <a:solidFill>
                  <a:srgbClr val="FF0000"/>
                </a:solidFill>
              </a:rPr>
              <a:t>ADMINISTRASI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44" name="Right Brace 43"/>
          <p:cNvSpPr/>
          <p:nvPr/>
        </p:nvSpPr>
        <p:spPr>
          <a:xfrm flipH="1">
            <a:off x="1517946" y="3495400"/>
            <a:ext cx="383485" cy="2982259"/>
          </a:xfrm>
          <a:prstGeom prst="rightBrace">
            <a:avLst>
              <a:gd name="adj1" fmla="val 8333"/>
              <a:gd name="adj2" fmla="val 52422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5" name="Straight Connector 44"/>
          <p:cNvCxnSpPr/>
          <p:nvPr/>
        </p:nvCxnSpPr>
        <p:spPr>
          <a:xfrm flipV="1">
            <a:off x="1802296" y="3505200"/>
            <a:ext cx="1702904" cy="23060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V="1">
            <a:off x="5791200" y="6019800"/>
            <a:ext cx="1702904" cy="23060"/>
          </a:xfrm>
          <a:prstGeom prst="line">
            <a:avLst/>
          </a:prstGeom>
          <a:ln w="222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sosceles Triangle 2"/>
          <p:cNvSpPr/>
          <p:nvPr/>
        </p:nvSpPr>
        <p:spPr>
          <a:xfrm>
            <a:off x="1812219" y="1066800"/>
            <a:ext cx="5547632" cy="5461000"/>
          </a:xfrm>
          <a:prstGeom prst="triangl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2323981" y="4050268"/>
            <a:ext cx="2074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DMINISTRATOR</a:t>
            </a:r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5531996" y="4050268"/>
            <a:ext cx="132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KEAHLIAN</a:t>
            </a:r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>
            <a:off x="4419600" y="4583668"/>
            <a:ext cx="2843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JABATAN FUNGSIONAL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152781" y="1524000"/>
            <a:ext cx="9754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UTAMA</a:t>
            </a:r>
            <a:endParaRPr lang="en-US" dirty="0"/>
          </a:p>
        </p:txBody>
      </p:sp>
      <p:sp>
        <p:nvSpPr>
          <p:cNvPr id="4" name="Left-Right Arrow 3"/>
          <p:cNvSpPr/>
          <p:nvPr/>
        </p:nvSpPr>
        <p:spPr>
          <a:xfrm>
            <a:off x="4152781" y="4345464"/>
            <a:ext cx="876419" cy="264708"/>
          </a:xfrm>
          <a:prstGeom prst="leftRightArrow">
            <a:avLst/>
          </a:prstGeom>
          <a:solidFill>
            <a:srgbClr val="66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Curved Right Arrow 58"/>
          <p:cNvSpPr/>
          <p:nvPr/>
        </p:nvSpPr>
        <p:spPr>
          <a:xfrm rot="9266295">
            <a:off x="6146300" y="2888365"/>
            <a:ext cx="517548" cy="1056949"/>
          </a:xfrm>
          <a:prstGeom prst="curvedRightArrow">
            <a:avLst/>
          </a:prstGeom>
          <a:solidFill>
            <a:srgbClr val="66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Curved Left Arrow 5"/>
          <p:cNvSpPr/>
          <p:nvPr/>
        </p:nvSpPr>
        <p:spPr>
          <a:xfrm rot="12038130">
            <a:off x="2281908" y="2885468"/>
            <a:ext cx="548129" cy="951348"/>
          </a:xfrm>
          <a:prstGeom prst="curvedLeftArrow">
            <a:avLst/>
          </a:prstGeom>
          <a:solidFill>
            <a:srgbClr val="66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2" name="Curved Left Arrow 61"/>
          <p:cNvSpPr/>
          <p:nvPr/>
        </p:nvSpPr>
        <p:spPr>
          <a:xfrm rot="21085209">
            <a:off x="6542952" y="2753077"/>
            <a:ext cx="579057" cy="1430967"/>
          </a:xfrm>
          <a:prstGeom prst="curvedLeftArrow">
            <a:avLst/>
          </a:prstGeom>
          <a:solidFill>
            <a:srgbClr val="66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3" name="Curved Right Arrow 62"/>
          <p:cNvSpPr/>
          <p:nvPr/>
        </p:nvSpPr>
        <p:spPr>
          <a:xfrm rot="21229641">
            <a:off x="1821317" y="2862853"/>
            <a:ext cx="614110" cy="1311245"/>
          </a:xfrm>
          <a:prstGeom prst="curvedRightArrow">
            <a:avLst/>
          </a:prstGeom>
          <a:solidFill>
            <a:srgbClr val="66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4" name="Bent-Up Arrow 63"/>
          <p:cNvSpPr/>
          <p:nvPr/>
        </p:nvSpPr>
        <p:spPr>
          <a:xfrm>
            <a:off x="4609981" y="6016350"/>
            <a:ext cx="2057400" cy="460650"/>
          </a:xfrm>
          <a:prstGeom prst="bentUpArrow">
            <a:avLst/>
          </a:prstGeom>
          <a:solidFill>
            <a:srgbClr val="FF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Bent-Up Arrow 65"/>
          <p:cNvSpPr/>
          <p:nvPr/>
        </p:nvSpPr>
        <p:spPr>
          <a:xfrm>
            <a:off x="4609981" y="6096000"/>
            <a:ext cx="990600" cy="369332"/>
          </a:xfrm>
          <a:prstGeom prst="bentUpArrow">
            <a:avLst/>
          </a:prstGeom>
          <a:solidFill>
            <a:srgbClr val="FF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/>
          <p:cNvSpPr txBox="1"/>
          <p:nvPr/>
        </p:nvSpPr>
        <p:spPr>
          <a:xfrm>
            <a:off x="5397811" y="1840468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POSISI</a:t>
            </a:r>
            <a:endParaRPr lang="en-US" b="1" dirty="0"/>
          </a:p>
        </p:txBody>
      </p:sp>
      <p:sp>
        <p:nvSpPr>
          <p:cNvPr id="49" name="TextBox 48"/>
          <p:cNvSpPr txBox="1"/>
          <p:nvPr/>
        </p:nvSpPr>
        <p:spPr>
          <a:xfrm>
            <a:off x="4035876" y="3606800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KARIER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xmlns="" val="17259317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00">
        <p14:prism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87900" y="1484313"/>
            <a:ext cx="4030663" cy="467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68313" y="1254125"/>
            <a:ext cx="7991475" cy="8921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3600" b="1" dirty="0">
                <a:latin typeface="+mn-lt"/>
                <a:cs typeface="+mn-cs"/>
              </a:rPr>
              <a:t>GEN-Y</a:t>
            </a:r>
            <a:endParaRPr lang="id-ID" sz="3600" b="1" dirty="0">
              <a:latin typeface="+mn-lt"/>
              <a:cs typeface="+mn-cs"/>
            </a:endParaRPr>
          </a:p>
          <a:p>
            <a:pPr>
              <a:defRPr/>
            </a:pPr>
            <a:r>
              <a:rPr lang="en-US" sz="1600" dirty="0">
                <a:latin typeface="+mn-lt"/>
                <a:cs typeface="+mn-cs"/>
              </a:rPr>
              <a:t>(R.J. STONE DLM KEMENKEU &amp; PERTAMINA, 2013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8313" y="2295525"/>
            <a:ext cx="4751387" cy="37242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68288" indent="-268288">
              <a:buFont typeface="Wingdings" pitchFamily="2" charset="2"/>
              <a:buChar char="§"/>
              <a:defRPr/>
            </a:pPr>
            <a:r>
              <a:rPr lang="en-US" sz="2400" dirty="0">
                <a:latin typeface="+mn-lt"/>
                <a:cs typeface="+mn-cs"/>
              </a:rPr>
              <a:t>CEPAT BELAJAR &amp; PINTAR</a:t>
            </a:r>
          </a:p>
          <a:p>
            <a:pPr marL="268288" indent="-268288">
              <a:buFont typeface="Wingdings" pitchFamily="2" charset="2"/>
              <a:buChar char="§"/>
              <a:defRPr/>
            </a:pPr>
            <a:r>
              <a:rPr lang="en-US" sz="2400" dirty="0">
                <a:latin typeface="+mn-lt"/>
                <a:cs typeface="+mn-cs"/>
              </a:rPr>
              <a:t>KRITIS</a:t>
            </a:r>
          </a:p>
          <a:p>
            <a:pPr marL="268288" indent="-268288">
              <a:buFont typeface="Wingdings" pitchFamily="2" charset="2"/>
              <a:buChar char="§"/>
              <a:defRPr/>
            </a:pPr>
            <a:r>
              <a:rPr lang="en-US" sz="2400" dirty="0">
                <a:latin typeface="+mn-lt"/>
                <a:cs typeface="+mn-cs"/>
              </a:rPr>
              <a:t>BEKERJA MOBILE</a:t>
            </a:r>
          </a:p>
          <a:p>
            <a:pPr marL="268288" indent="-268288">
              <a:buFont typeface="Wingdings" pitchFamily="2" charset="2"/>
              <a:buChar char="§"/>
              <a:defRPr/>
            </a:pPr>
            <a:r>
              <a:rPr lang="en-US" sz="2400" dirty="0">
                <a:latin typeface="+mn-lt"/>
                <a:cs typeface="+mn-cs"/>
              </a:rPr>
              <a:t>MELEK TEKNOLOGI</a:t>
            </a:r>
          </a:p>
          <a:p>
            <a:pPr marL="268288" indent="-268288">
              <a:buFont typeface="Wingdings" pitchFamily="2" charset="2"/>
              <a:buChar char="§"/>
              <a:defRPr/>
            </a:pPr>
            <a:r>
              <a:rPr lang="en-US" sz="2400" dirty="0">
                <a:latin typeface="+mn-lt"/>
                <a:cs typeface="+mn-cs"/>
              </a:rPr>
              <a:t>MUDAH BERGAUL</a:t>
            </a:r>
          </a:p>
          <a:p>
            <a:pPr marL="268288" indent="-268288">
              <a:buFont typeface="Wingdings" pitchFamily="2" charset="2"/>
              <a:buChar char="§"/>
              <a:defRPr/>
            </a:pPr>
            <a:r>
              <a:rPr lang="en-US" sz="2000" dirty="0">
                <a:latin typeface="+mn-lt"/>
                <a:cs typeface="+mn-cs"/>
              </a:rPr>
              <a:t>SELEKTIF MEMILIH PEMIMPIN</a:t>
            </a:r>
          </a:p>
          <a:p>
            <a:pPr marL="268288" indent="-268288">
              <a:buFont typeface="Wingdings" pitchFamily="2" charset="2"/>
              <a:buChar char="§"/>
              <a:defRPr/>
            </a:pPr>
            <a:r>
              <a:rPr lang="en-US" sz="2400" dirty="0">
                <a:latin typeface="+mn-lt"/>
                <a:cs typeface="+mn-cs"/>
              </a:rPr>
              <a:t>BERORIENTASI PD TIM</a:t>
            </a:r>
          </a:p>
          <a:p>
            <a:pPr marL="268288" indent="-268288">
              <a:buFont typeface="Wingdings" pitchFamily="2" charset="2"/>
              <a:buChar char="§"/>
              <a:defRPr/>
            </a:pPr>
            <a:r>
              <a:rPr lang="en-US" sz="2400" dirty="0">
                <a:latin typeface="+mn-lt"/>
                <a:cs typeface="+mn-cs"/>
              </a:rPr>
              <a:t>SUKA TANTANGAN BESAR</a:t>
            </a:r>
          </a:p>
          <a:p>
            <a:pPr marL="268288" indent="-268288">
              <a:buFont typeface="Wingdings" pitchFamily="2" charset="2"/>
              <a:buChar char="§"/>
              <a:defRPr/>
            </a:pPr>
            <a:r>
              <a:rPr lang="en-US" sz="2000" dirty="0">
                <a:latin typeface="+mn-lt"/>
                <a:cs typeface="+mn-cs"/>
              </a:rPr>
              <a:t>TIDAK TERINTIMIDASI OLEH ATASAN/ SENI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23528" y="476672"/>
            <a:ext cx="8712967" cy="584775"/>
          </a:xfrm>
          <a:prstGeom prst="rect">
            <a:avLst/>
          </a:prstGeom>
          <a:solidFill>
            <a:srgbClr val="F0ECF4"/>
          </a:solidFill>
        </p:spPr>
        <p:txBody>
          <a:bodyPr wrap="square">
            <a:spAutoFit/>
          </a:bodyPr>
          <a:lstStyle/>
          <a:p>
            <a:pPr marL="531813">
              <a:defRPr/>
            </a:pPr>
            <a:r>
              <a:rPr lang="id-ID" sz="3200" dirty="0">
                <a:latin typeface="+mn-lt"/>
                <a:cs typeface="+mn-cs"/>
              </a:rPr>
              <a:t>ANTISIPASI </a:t>
            </a:r>
            <a:r>
              <a:rPr lang="en-US" sz="3200" b="1" dirty="0" smtClean="0">
                <a:latin typeface="+mn-lt"/>
                <a:cs typeface="+mn-cs"/>
              </a:rPr>
              <a:t>REKRUITMEN</a:t>
            </a:r>
            <a:r>
              <a:rPr lang="en-US" sz="3200" dirty="0" smtClean="0">
                <a:latin typeface="+mn-lt"/>
                <a:cs typeface="+mn-cs"/>
              </a:rPr>
              <a:t> </a:t>
            </a:r>
            <a:r>
              <a:rPr lang="id-ID" sz="3200" dirty="0" smtClean="0">
                <a:latin typeface="+mn-lt"/>
                <a:cs typeface="+mn-cs"/>
              </a:rPr>
              <a:t>GENERASI Y</a:t>
            </a:r>
            <a:endParaRPr lang="id-ID" sz="320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47159125"/>
      </p:ext>
    </p:extLst>
  </p:cSld>
  <p:clrMapOvr>
    <a:masterClrMapping/>
  </p:clrMapOvr>
  <p:transition spd="slow">
    <p:circl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1" name="Content Placeholder 2"/>
          <p:cNvSpPr>
            <a:spLocks noGrp="1"/>
          </p:cNvSpPr>
          <p:nvPr>
            <p:ph idx="1"/>
          </p:nvPr>
        </p:nvSpPr>
        <p:spPr>
          <a:xfrm>
            <a:off x="2699792" y="1308695"/>
            <a:ext cx="6059016" cy="5072633"/>
          </a:xfrm>
        </p:spPr>
        <p:txBody>
          <a:bodyPr>
            <a:noAutofit/>
          </a:bodyPr>
          <a:lstStyle/>
          <a:p>
            <a:pPr algn="just" eaLnBrk="1" hangingPunct="1">
              <a:spcBef>
                <a:spcPct val="0"/>
              </a:spcBef>
              <a:buNone/>
              <a:defRPr/>
            </a:pPr>
            <a:r>
              <a:rPr lang="id-ID" sz="1800" b="1" smtClean="0">
                <a:ea typeface="ＭＳ Ｐゴシック" charset="-128"/>
                <a:cs typeface="MS PGothic" charset="0"/>
              </a:rPr>
              <a:t>KEDUDUKAN</a:t>
            </a:r>
            <a:r>
              <a:rPr lang="id-ID" sz="1800" smtClean="0">
                <a:ea typeface="ＭＳ Ｐゴシック" charset="-128"/>
                <a:cs typeface="MS PGothic" charset="0"/>
              </a:rPr>
              <a:t>: Wadah Korps Profesi Pegawai ASN RI untuk menyalurkan aspirasinya. </a:t>
            </a:r>
          </a:p>
          <a:p>
            <a:pPr eaLnBrk="1" hangingPunct="1">
              <a:spcBef>
                <a:spcPct val="0"/>
              </a:spcBef>
              <a:buNone/>
              <a:defRPr/>
            </a:pPr>
            <a:endParaRPr lang="id-ID" sz="1050" smtClean="0">
              <a:solidFill>
                <a:srgbClr val="FF0000"/>
              </a:solidFill>
              <a:ea typeface="ＭＳ Ｐゴシック" charset="-128"/>
              <a:cs typeface="MS PGothic" charset="0"/>
            </a:endParaRPr>
          </a:p>
          <a:p>
            <a:pPr eaLnBrk="1" hangingPunct="1">
              <a:spcBef>
                <a:spcPct val="0"/>
              </a:spcBef>
              <a:buNone/>
              <a:defRPr/>
            </a:pPr>
            <a:r>
              <a:rPr lang="id-ID" sz="1800" b="1" smtClean="0">
                <a:ea typeface="ＭＳ Ｐゴシック" charset="-128"/>
                <a:cs typeface="MS PGothic" charset="0"/>
              </a:rPr>
              <a:t>TUJUAN</a:t>
            </a:r>
            <a:r>
              <a:rPr lang="id-ID" sz="1800" smtClean="0">
                <a:ea typeface="ＭＳ Ｐゴシック" charset="-128"/>
                <a:cs typeface="MS PGothic" charset="0"/>
              </a:rPr>
              <a:t> : </a:t>
            </a:r>
            <a:endParaRPr lang="id-ID" sz="1800" smtClean="0">
              <a:solidFill>
                <a:srgbClr val="FF0000"/>
              </a:solidFill>
              <a:ea typeface="ＭＳ Ｐゴシック" charset="-128"/>
              <a:cs typeface="MS PGothic" charset="0"/>
            </a:endParaRPr>
          </a:p>
          <a:p>
            <a:pPr marL="725488" lvl="1" indent="-361950" algn="just" eaLnBrk="1" hangingPunct="1">
              <a:spcBef>
                <a:spcPct val="0"/>
              </a:spcBef>
              <a:spcAft>
                <a:spcPts val="300"/>
              </a:spcAft>
              <a:buFont typeface="+mj-lt"/>
              <a:buAutoNum type="alphaLcPeriod"/>
              <a:defRPr/>
            </a:pPr>
            <a:r>
              <a:rPr lang="id-ID" sz="1800" smtClean="0">
                <a:ea typeface="ＭＳ Ｐゴシック" charset="-128"/>
                <a:cs typeface="MS PGothic" charset="0"/>
              </a:rPr>
              <a:t>Menjaga kode etik profesi dan standar pelayanan profesi ASN; dan</a:t>
            </a:r>
          </a:p>
          <a:p>
            <a:pPr marL="725488" lvl="1" indent="-361950" algn="just" eaLnBrk="1" hangingPunct="1">
              <a:spcBef>
                <a:spcPct val="0"/>
              </a:spcBef>
              <a:spcAft>
                <a:spcPts val="300"/>
              </a:spcAft>
              <a:buFont typeface="+mj-lt"/>
              <a:buAutoNum type="alphaLcPeriod"/>
              <a:defRPr/>
            </a:pPr>
            <a:r>
              <a:rPr lang="id-ID" sz="1800" smtClean="0">
                <a:ea typeface="ＭＳ Ｐゴシック" charset="-128"/>
                <a:cs typeface="MS PGothic" charset="0"/>
              </a:rPr>
              <a:t>Mewujudkan jiwa korps ASN sebagai pemersatu bangsa.</a:t>
            </a:r>
          </a:p>
          <a:p>
            <a:pPr algn="just" eaLnBrk="1" hangingPunct="1">
              <a:spcBef>
                <a:spcPct val="0"/>
              </a:spcBef>
              <a:buNone/>
              <a:defRPr/>
            </a:pPr>
            <a:endParaRPr lang="id-ID" sz="1050" smtClean="0">
              <a:ea typeface="ＭＳ Ｐゴシック" charset="-128"/>
              <a:cs typeface="MS PGothic" charset="0"/>
            </a:endParaRPr>
          </a:p>
          <a:p>
            <a:pPr algn="just" eaLnBrk="1" hangingPunct="1">
              <a:spcBef>
                <a:spcPct val="0"/>
              </a:spcBef>
              <a:buNone/>
              <a:defRPr/>
            </a:pPr>
            <a:r>
              <a:rPr lang="id-ID" sz="1800" b="1" smtClean="0">
                <a:ea typeface="ＭＳ Ｐゴシック" charset="-128"/>
                <a:cs typeface="MS PGothic" charset="0"/>
              </a:rPr>
              <a:t>FUNGSI</a:t>
            </a:r>
            <a:r>
              <a:rPr lang="id-ID" sz="1800" smtClean="0">
                <a:ea typeface="ＭＳ Ｐゴシック" charset="-128"/>
                <a:cs typeface="MS PGothic" charset="0"/>
              </a:rPr>
              <a:t> </a:t>
            </a:r>
            <a:r>
              <a:rPr lang="id-ID" sz="1600" smtClean="0">
                <a:ea typeface="ＭＳ Ｐゴシック" charset="-128"/>
                <a:cs typeface="MS PGothic" charset="0"/>
              </a:rPr>
              <a:t>:</a:t>
            </a:r>
            <a:endParaRPr lang="id-ID" sz="1600" i="1" smtClean="0">
              <a:ea typeface="ＭＳ Ｐゴシック" charset="-128"/>
              <a:cs typeface="MS PGothic" charset="0"/>
            </a:endParaRPr>
          </a:p>
          <a:p>
            <a:pPr marL="725488" lvl="2" indent="-361950" algn="just" eaLnBrk="1" hangingPunct="1">
              <a:spcBef>
                <a:spcPct val="0"/>
              </a:spcBef>
              <a:spcAft>
                <a:spcPts val="300"/>
              </a:spcAft>
              <a:buFont typeface="+mj-lt"/>
              <a:buAutoNum type="alphaLcPeriod"/>
              <a:defRPr/>
            </a:pPr>
            <a:r>
              <a:rPr lang="id-ID" sz="1600" smtClean="0">
                <a:ea typeface="ＭＳ Ｐゴシック" charset="-128"/>
                <a:cs typeface="MS PGothic" charset="0"/>
              </a:rPr>
              <a:t>Pembinaan dan pengembangan profesi ASN;</a:t>
            </a:r>
          </a:p>
          <a:p>
            <a:pPr marL="725488" lvl="2" indent="-361950" algn="just" eaLnBrk="1" hangingPunct="1">
              <a:spcBef>
                <a:spcPct val="0"/>
              </a:spcBef>
              <a:spcAft>
                <a:spcPts val="300"/>
              </a:spcAft>
              <a:buFont typeface="+mj-lt"/>
              <a:buAutoNum type="alphaLcPeriod"/>
              <a:defRPr/>
            </a:pPr>
            <a:r>
              <a:rPr lang="id-ID" sz="1600" smtClean="0">
                <a:ea typeface="ＭＳ Ｐゴシック" charset="-128"/>
                <a:cs typeface="MS PGothic" charset="0"/>
              </a:rPr>
              <a:t>Memberikan perlindungan hukum dan advokasi terhadap dugaan pelanggaran sistem  merit dan masalah hukum dalam melaksanakan tugas;</a:t>
            </a:r>
          </a:p>
          <a:p>
            <a:pPr marL="725488" lvl="2" indent="-361950" algn="just" eaLnBrk="1" hangingPunct="1">
              <a:spcBef>
                <a:spcPct val="0"/>
              </a:spcBef>
              <a:spcAft>
                <a:spcPts val="300"/>
              </a:spcAft>
              <a:buFont typeface="+mj-lt"/>
              <a:buAutoNum type="alphaLcPeriod"/>
              <a:defRPr/>
            </a:pPr>
            <a:r>
              <a:rPr lang="id-ID" sz="1600" smtClean="0">
                <a:ea typeface="ＭＳ Ｐゴシック" charset="-128"/>
                <a:cs typeface="MS PGothic" charset="0"/>
              </a:rPr>
              <a:t>Memberikan rekomendasi kepada majelis kode etik instansi  terhadap pelanggaran kode etik profesi dan kode perilaku profesi;</a:t>
            </a:r>
          </a:p>
          <a:p>
            <a:pPr marL="725488" lvl="2" indent="-361950" algn="just" eaLnBrk="1" hangingPunct="1">
              <a:spcBef>
                <a:spcPct val="0"/>
              </a:spcBef>
              <a:spcAft>
                <a:spcPts val="300"/>
              </a:spcAft>
              <a:buFont typeface="+mj-lt"/>
              <a:buAutoNum type="alphaLcPeriod"/>
              <a:defRPr/>
            </a:pPr>
            <a:r>
              <a:rPr lang="id-ID" sz="1600" smtClean="0">
                <a:ea typeface="ＭＳ Ｐゴシック" charset="-128"/>
                <a:cs typeface="MS PGothic" charset="0"/>
              </a:rPr>
              <a:t>Menyelenggarakan usaha-usaha untuk peningkatan kesejahteraan anggota korps profesi ASN RI sesuai dengan peraturan perudang-undangan</a:t>
            </a:r>
            <a:endParaRPr lang="id-ID" sz="1600" i="1" smtClean="0">
              <a:solidFill>
                <a:srgbClr val="FF0000"/>
              </a:solidFill>
              <a:ea typeface="ＭＳ Ｐゴシック" charset="-128"/>
              <a:cs typeface="MS PGothic" charset="0"/>
            </a:endParaRPr>
          </a:p>
          <a:p>
            <a:pPr marL="0" indent="0" eaLnBrk="1" hangingPunct="1">
              <a:spcBef>
                <a:spcPct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id-ID" sz="1600" smtClean="0">
              <a:ea typeface="ＭＳ Ｐゴシック" charset="-128"/>
              <a:cs typeface="MS PGothic" charset="0"/>
            </a:endParaRPr>
          </a:p>
          <a:p>
            <a:pPr marL="725488" lvl="2" indent="-361950" eaLnBrk="1" hangingPunct="1">
              <a:spcBef>
                <a:spcPct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id-ID" sz="1600" smtClean="0">
              <a:ea typeface="ＭＳ Ｐゴシック" charset="-128"/>
              <a:cs typeface="MS PGothic" charset="0"/>
            </a:endParaRPr>
          </a:p>
          <a:p>
            <a:pPr marL="0" indent="0" algn="just" eaLnBrk="1" hangingPunct="1"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/>
            </a:pPr>
            <a:endParaRPr lang="id-ID" sz="1600" smtClean="0">
              <a:ea typeface="ＭＳ Ｐゴシック" charset="-128"/>
              <a:cs typeface="MS PGothic" charset="0"/>
            </a:endParaRPr>
          </a:p>
          <a:p>
            <a:pPr marL="273050" indent="-273050" eaLnBrk="1" hangingPunct="1">
              <a:spcBef>
                <a:spcPct val="0"/>
              </a:spcBef>
              <a:spcAft>
                <a:spcPts val="0"/>
              </a:spcAft>
              <a:buFont typeface="Wingdings" charset="0"/>
              <a:buChar char=""/>
              <a:defRPr/>
            </a:pPr>
            <a:endParaRPr lang="id-ID" sz="1600" smtClean="0">
              <a:ea typeface="ＭＳ Ｐゴシック" charset="-128"/>
              <a:cs typeface="MS PGothic" charset="0"/>
            </a:endParaRPr>
          </a:p>
          <a:p>
            <a:pPr marL="273050" indent="-273050" eaLnBrk="1" hangingPunct="1">
              <a:spcBef>
                <a:spcPct val="0"/>
              </a:spcBef>
              <a:spcAft>
                <a:spcPts val="0"/>
              </a:spcAft>
              <a:buFont typeface="Wingdings" charset="0"/>
              <a:buChar char=""/>
              <a:defRPr/>
            </a:pPr>
            <a:endParaRPr lang="id-ID" sz="1600" smtClean="0">
              <a:ea typeface="ＭＳ Ｐゴシック" charset="-128"/>
              <a:cs typeface="MS PGothic" charset="0"/>
            </a:endParaRPr>
          </a:p>
          <a:p>
            <a:pPr marL="273050" indent="-273050" algn="ctr" eaLnBrk="1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id-ID" sz="1600" smtClean="0">
              <a:ea typeface="ＭＳ Ｐゴシック" charset="-128"/>
              <a:cs typeface="MS PGothic" charset="0"/>
            </a:endParaRPr>
          </a:p>
          <a:p>
            <a:pPr marL="273050" indent="-273050" algn="just" eaLnBrk="1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id-ID" sz="1600" smtClean="0">
              <a:ea typeface="ＭＳ Ｐゴシック" charset="-128"/>
              <a:cs typeface="MS PGothic" charset="0"/>
            </a:endParaRPr>
          </a:p>
          <a:p>
            <a:pPr marL="273050" indent="-273050" algn="just" eaLnBrk="1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id-ID" sz="1600">
              <a:ea typeface="ＭＳ Ｐゴシック" charset="-128"/>
              <a:cs typeface="MS PGothic" charset="0"/>
            </a:endParaRPr>
          </a:p>
        </p:txBody>
      </p:sp>
      <p:pic>
        <p:nvPicPr>
          <p:cNvPr id="6148" name="Picture 4" descr="http://wartakutim.hol.es/wp-content/uploads/2013/11/batik-korpri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 l="5971" r="71639"/>
          <a:stretch>
            <a:fillRect/>
          </a:stretch>
        </p:blipFill>
        <p:spPr bwMode="auto">
          <a:xfrm>
            <a:off x="467544" y="128633"/>
            <a:ext cx="2232248" cy="6324703"/>
          </a:xfrm>
          <a:prstGeom prst="rect">
            <a:avLst/>
          </a:prstGeom>
          <a:noFill/>
        </p:spPr>
      </p:pic>
      <p:sp>
        <p:nvSpPr>
          <p:cNvPr id="83971" name="Title 1"/>
          <p:cNvSpPr>
            <a:spLocks noGrp="1"/>
          </p:cNvSpPr>
          <p:nvPr>
            <p:ph type="title" idx="4294967295"/>
          </p:nvPr>
        </p:nvSpPr>
        <p:spPr>
          <a:xfrm>
            <a:off x="673224" y="369094"/>
            <a:ext cx="6419056" cy="755650"/>
          </a:xfrm>
          <a:solidFill>
            <a:schemeClr val="bg1"/>
          </a:solidFill>
        </p:spPr>
        <p:txBody>
          <a:bodyPr>
            <a:noAutofit/>
          </a:bodyPr>
          <a:lstStyle/>
          <a:p>
            <a:pPr algn="l" eaLnBrk="1" hangingPunct="1"/>
            <a:r>
              <a:rPr lang="id-ID" altLang="id-ID" sz="4400" b="1" dirty="0" smtClean="0">
                <a:latin typeface="+mn-lt"/>
                <a:ea typeface="ＭＳ Ｐゴシック" pitchFamily="34" charset="-128"/>
                <a:cs typeface="Century Gothic" pitchFamily="34" charset="0"/>
              </a:rPr>
              <a:t>ORGANISASI ASN</a:t>
            </a:r>
          </a:p>
        </p:txBody>
      </p:sp>
    </p:spTree>
    <p:extLst>
      <p:ext uri="{BB962C8B-B14F-4D97-AF65-F5344CB8AC3E}">
        <p14:creationId xmlns:p14="http://schemas.microsoft.com/office/powerpoint/2010/main" xmlns="" val="16451972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5" name="Title 2"/>
          <p:cNvSpPr>
            <a:spLocks noGrp="1"/>
          </p:cNvSpPr>
          <p:nvPr>
            <p:ph type="title" idx="4294967295"/>
          </p:nvPr>
        </p:nvSpPr>
        <p:spPr>
          <a:xfrm>
            <a:off x="385192" y="152400"/>
            <a:ext cx="8147248" cy="755650"/>
          </a:xfrm>
        </p:spPr>
        <p:txBody>
          <a:bodyPr>
            <a:normAutofit fontScale="90000"/>
          </a:bodyPr>
          <a:lstStyle/>
          <a:p>
            <a:pPr algn="l" eaLnBrk="1" hangingPunct="1"/>
            <a:r>
              <a:rPr lang="id-ID" altLang="id-ID" b="1" smtClean="0">
                <a:latin typeface="+mn-lt"/>
                <a:ea typeface="ＭＳ Ｐゴシック" pitchFamily="34" charset="-128"/>
                <a:cs typeface="Century Gothic" pitchFamily="34" charset="0"/>
              </a:rPr>
              <a:t>SISTEM INFORMASI ASN</a:t>
            </a:r>
          </a:p>
        </p:txBody>
      </p:sp>
      <p:pic>
        <p:nvPicPr>
          <p:cNvPr id="5122" name="Picture 2" descr="http://stat.ks.kidsklik.com/statics/files/2013/11/13837450772002873730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71875" y="2676525"/>
            <a:ext cx="5572125" cy="4181475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>
            <a:off x="395536" y="974913"/>
            <a:ext cx="4896544" cy="5478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361950" indent="-361950">
              <a:spcBef>
                <a:spcPts val="600"/>
              </a:spcBef>
              <a:buFont typeface="Calibri" pitchFamily="34" charset="0"/>
              <a:buAutoNum type="arabicPeriod"/>
            </a:pPr>
            <a:r>
              <a:rPr lang="id-ID" altLang="id-ID" sz="2200" b="1" smtClean="0">
                <a:ea typeface="ＭＳ Ｐゴシック" pitchFamily="34" charset="-128"/>
              </a:rPr>
              <a:t>Tujuan</a:t>
            </a:r>
            <a:r>
              <a:rPr lang="id-ID" altLang="id-ID" sz="2200" smtClean="0">
                <a:ea typeface="ＭＳ Ｐゴシック" pitchFamily="34" charset="-128"/>
              </a:rPr>
              <a:t>: Efisiensi, Efektivitas, Akurasi Pengambilan Keputusan dalam manajemen ASN. </a:t>
            </a:r>
            <a:endParaRPr lang="id-ID" altLang="id-ID" sz="2200" smtClean="0">
              <a:solidFill>
                <a:srgbClr val="FF0000"/>
              </a:solidFill>
              <a:ea typeface="ＭＳ Ｐゴシック" pitchFamily="34" charset="-128"/>
            </a:endParaRPr>
          </a:p>
          <a:p>
            <a:pPr marL="361950" indent="-361950" algn="just">
              <a:spcBef>
                <a:spcPts val="600"/>
              </a:spcBef>
              <a:buFont typeface="Calibri" pitchFamily="34" charset="0"/>
              <a:buAutoNum type="arabicPeriod"/>
            </a:pPr>
            <a:r>
              <a:rPr lang="id-ID" altLang="id-ID" sz="2200" b="1" smtClean="0">
                <a:ea typeface="ＭＳ Ｐゴシック" pitchFamily="34" charset="-128"/>
              </a:rPr>
              <a:t>Sifat</a:t>
            </a:r>
            <a:r>
              <a:rPr lang="id-ID" altLang="id-ID" sz="2200" smtClean="0">
                <a:ea typeface="ＭＳ Ｐゴシック" pitchFamily="34" charset="-128"/>
              </a:rPr>
              <a:t>: Nasional dan terintegrasi antar instansi. </a:t>
            </a:r>
          </a:p>
          <a:p>
            <a:pPr marL="361950" indent="-361950" algn="just">
              <a:spcBef>
                <a:spcPts val="600"/>
              </a:spcBef>
              <a:buFont typeface="Calibri" pitchFamily="34" charset="0"/>
              <a:buAutoNum type="arabicPeriod"/>
            </a:pPr>
            <a:r>
              <a:rPr lang="id-ID" altLang="id-ID" sz="2200" b="1" smtClean="0">
                <a:ea typeface="ＭＳ Ｐゴシック" pitchFamily="34" charset="-128"/>
              </a:rPr>
              <a:t>Pembangunan dan pemutakhiran Data </a:t>
            </a:r>
            <a:r>
              <a:rPr lang="id-ID" altLang="id-ID" sz="2200" smtClean="0">
                <a:ea typeface="ＭＳ Ｐゴシック" pitchFamily="34" charset="-128"/>
              </a:rPr>
              <a:t>secara berkala. </a:t>
            </a:r>
          </a:p>
          <a:p>
            <a:pPr marL="361950" indent="-361950" algn="just">
              <a:spcBef>
                <a:spcPts val="600"/>
              </a:spcBef>
              <a:buFont typeface="Calibri" pitchFamily="34" charset="0"/>
              <a:buAutoNum type="arabicPeriod"/>
            </a:pPr>
            <a:r>
              <a:rPr lang="id-ID" altLang="id-ID" sz="2200" b="1" smtClean="0">
                <a:ea typeface="ＭＳ Ｐゴシック" pitchFamily="34" charset="-128"/>
              </a:rPr>
              <a:t>Berbasis TI </a:t>
            </a:r>
            <a:r>
              <a:rPr lang="id-ID" altLang="id-ID" sz="2200" smtClean="0">
                <a:ea typeface="ＭＳ Ｐゴシック" pitchFamily="34" charset="-128"/>
              </a:rPr>
              <a:t>yang mudah diaplikasikan, mudah diakses dan memiliki sistem keamanan terpercaya. </a:t>
            </a:r>
          </a:p>
          <a:p>
            <a:pPr marL="361950" indent="-361950" algn="just">
              <a:spcBef>
                <a:spcPts val="600"/>
              </a:spcBef>
              <a:buFont typeface="Calibri" pitchFamily="34" charset="0"/>
              <a:buAutoNum type="arabicPeriod"/>
            </a:pPr>
            <a:r>
              <a:rPr lang="id-ID" altLang="id-ID" sz="2200" b="1" smtClean="0">
                <a:ea typeface="ＭＳ Ｐゴシック" pitchFamily="34" charset="-128"/>
              </a:rPr>
              <a:t>Pengelola</a:t>
            </a:r>
            <a:r>
              <a:rPr lang="id-ID" altLang="id-ID" sz="2200" smtClean="0">
                <a:ea typeface="ＭＳ Ｐゴシック" pitchFamily="34" charset="-128"/>
              </a:rPr>
              <a:t>: BKN dan dapat digunakan/diakses oleh instansi terkait baik untuk keperluan </a:t>
            </a:r>
            <a:r>
              <a:rPr lang="id-ID" altLang="id-ID" sz="2200" i="1" smtClean="0">
                <a:ea typeface="ＭＳ Ｐゴシック" pitchFamily="34" charset="-128"/>
              </a:rPr>
              <a:t>update </a:t>
            </a:r>
            <a:r>
              <a:rPr lang="id-ID" altLang="id-ID" sz="2200" smtClean="0">
                <a:ea typeface="ＭＳ Ｐゴシック" pitchFamily="34" charset="-128"/>
              </a:rPr>
              <a:t>data maupun untuk pengambilan keputusan. </a:t>
            </a:r>
          </a:p>
        </p:txBody>
      </p:sp>
    </p:spTree>
    <p:extLst>
      <p:ext uri="{BB962C8B-B14F-4D97-AF65-F5344CB8AC3E}">
        <p14:creationId xmlns:p14="http://schemas.microsoft.com/office/powerpoint/2010/main" xmlns="" val="12041257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 cstate="email"/>
          <a:srcRect r="19537"/>
          <a:stretch>
            <a:fillRect/>
          </a:stretch>
        </p:blipFill>
        <p:spPr bwMode="auto">
          <a:xfrm>
            <a:off x="251519" y="332656"/>
            <a:ext cx="4108851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2.bp.blogspot.com/-tsPU9vj2xoI/UieBQfLvADI/AAAAAAAALOI/vsASEhNVx8g/s1600/GCR_Infographic_SouthSoutheastAsia_2013-2014.jp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115616" y="2984877"/>
            <a:ext cx="6988971" cy="2748379"/>
          </a:xfrm>
          <a:prstGeom prst="rect">
            <a:avLst/>
          </a:prstGeom>
          <a:noFill/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570010" y="476672"/>
            <a:ext cx="1034438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/>
        </p:nvSpPr>
        <p:spPr>
          <a:xfrm>
            <a:off x="1115616" y="5805264"/>
            <a:ext cx="7200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000" dirty="0" smtClean="0"/>
              <a:t>PERINGKAT INDONESIA MENINGKAT DARI </a:t>
            </a:r>
            <a:r>
              <a:rPr lang="id-ID" sz="2400" b="1" dirty="0" smtClean="0"/>
              <a:t>#55 </a:t>
            </a:r>
            <a:r>
              <a:rPr lang="id-ID" sz="2000" dirty="0" smtClean="0"/>
              <a:t>(TAHUN 2008-2009) MENJADI </a:t>
            </a:r>
            <a:r>
              <a:rPr lang="id-ID" sz="2400" b="1" dirty="0" smtClean="0"/>
              <a:t>#38 </a:t>
            </a:r>
            <a:r>
              <a:rPr lang="id-ID" sz="2000" dirty="0" smtClean="0"/>
              <a:t>(TAHUN 2013-2014)</a:t>
            </a:r>
            <a:endParaRPr lang="id-ID" sz="2000" dirty="0"/>
          </a:p>
        </p:txBody>
      </p:sp>
      <p:sp>
        <p:nvSpPr>
          <p:cNvPr id="2" name="TextBox 1"/>
          <p:cNvSpPr txBox="1"/>
          <p:nvPr/>
        </p:nvSpPr>
        <p:spPr>
          <a:xfrm>
            <a:off x="251520" y="1949931"/>
            <a:ext cx="845321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Competitiveness is the set of institutions, policies, and factors that </a:t>
            </a:r>
          </a:p>
          <a:p>
            <a:r>
              <a:rPr lang="en-US" sz="2400" dirty="0" smtClean="0"/>
              <a:t>determine the level of productivity of an economy</a:t>
            </a:r>
            <a:endParaRPr lang="id-ID" sz="2400" dirty="0"/>
          </a:p>
        </p:txBody>
      </p:sp>
    </p:spTree>
    <p:extLst>
      <p:ext uri="{BB962C8B-B14F-4D97-AF65-F5344CB8AC3E}">
        <p14:creationId xmlns:p14="http://schemas.microsoft.com/office/powerpoint/2010/main" xmlns="" val="1282204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11960" y="4365104"/>
            <a:ext cx="417646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dirty="0" err="1" smtClean="0"/>
              <a:t>Dokumentasi</a:t>
            </a:r>
            <a:r>
              <a:rPr lang="en-US" sz="3200" dirty="0" smtClean="0"/>
              <a:t> </a:t>
            </a:r>
            <a:r>
              <a:rPr lang="en-US" sz="3200" dirty="0" err="1"/>
              <a:t>R</a:t>
            </a:r>
            <a:r>
              <a:rPr lang="en-US" sz="3200" dirty="0" err="1" smtClean="0"/>
              <a:t>eformasi</a:t>
            </a:r>
            <a:r>
              <a:rPr lang="en-US" sz="3200" dirty="0" smtClean="0"/>
              <a:t> </a:t>
            </a:r>
            <a:r>
              <a:rPr lang="en-US" sz="3200" dirty="0" err="1" smtClean="0"/>
              <a:t>Manejemen</a:t>
            </a:r>
            <a:r>
              <a:rPr lang="en-US" sz="3200" dirty="0" smtClean="0"/>
              <a:t> ASN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xmlns="" val="3406985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87" t="3777" r="6470" b="26534"/>
          <a:stretch/>
        </p:blipFill>
        <p:spPr>
          <a:xfrm>
            <a:off x="685800" y="1484784"/>
            <a:ext cx="7990114" cy="512064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267744" y="1033572"/>
            <a:ext cx="48245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RASIO PNS &amp; ANGKATAN KERJA </a:t>
            </a:r>
            <a:endParaRPr 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5796136" y="6300028"/>
            <a:ext cx="28077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err="1" smtClean="0"/>
              <a:t>Sumber</a:t>
            </a:r>
            <a:r>
              <a:rPr lang="en-US" sz="1400" dirty="0" smtClean="0"/>
              <a:t>: BKN, 2016</a:t>
            </a:r>
            <a:endParaRPr lang="en-US" sz="1400" dirty="0"/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1691680" y="6173376"/>
            <a:ext cx="504056" cy="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148601" y="5966779"/>
            <a:ext cx="1728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Dominasi</a:t>
            </a:r>
            <a:r>
              <a:rPr lang="en-US" dirty="0" smtClean="0"/>
              <a:t> PNS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691680" y="5165264"/>
            <a:ext cx="0" cy="936104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683568" y="332656"/>
            <a:ext cx="79928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smtClean="0"/>
              <a:t>SISTEM INFORMASI SDMA BERBASIS GI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xmlns="" val="2297055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20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256" r="12946"/>
          <a:stretch>
            <a:fillRect/>
          </a:stretch>
        </p:blipFill>
        <p:spPr bwMode="auto">
          <a:xfrm>
            <a:off x="30163" y="619125"/>
            <a:ext cx="9096375" cy="585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236255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" r="30237"/>
          <a:stretch/>
        </p:blipFill>
        <p:spPr>
          <a:xfrm>
            <a:off x="636216" y="1734672"/>
            <a:ext cx="4016466" cy="3417260"/>
          </a:xfrm>
          <a:prstGeom prst="rect">
            <a:avLst/>
          </a:prstGeom>
        </p:spPr>
      </p:pic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550469" y="1022585"/>
            <a:ext cx="608255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2800" dirty="0" smtClean="0">
                <a:solidFill>
                  <a:schemeClr val="accent2"/>
                </a:solidFill>
                <a:latin typeface="Calibri" pitchFamily="34" charset="0"/>
              </a:rPr>
              <a:t>REGISTRASI MANUAL</a:t>
            </a:r>
            <a:endParaRPr lang="en-US" sz="2800" dirty="0">
              <a:solidFill>
                <a:schemeClr val="accent2"/>
              </a:solidFill>
              <a:latin typeface="Calibri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919369" y="1734671"/>
            <a:ext cx="3905892" cy="340210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262894" y="1022585"/>
            <a:ext cx="4663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accent3"/>
                </a:solidFill>
              </a:rPr>
              <a:t>REGISTRASI ONLINE </a:t>
            </a:r>
            <a:endParaRPr lang="en-US" sz="2800" dirty="0">
              <a:solidFill>
                <a:schemeClr val="accent3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4784575" y="767091"/>
            <a:ext cx="967" cy="510988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530341" y="298384"/>
            <a:ext cx="40164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err="1" smtClean="0"/>
              <a:t>Seleksi</a:t>
            </a:r>
            <a:r>
              <a:rPr lang="en-US" sz="3200" dirty="0" smtClean="0"/>
              <a:t> CPNS</a:t>
            </a:r>
            <a:endParaRPr lang="en-US" sz="3200" dirty="0"/>
          </a:p>
        </p:txBody>
      </p:sp>
      <p:sp>
        <p:nvSpPr>
          <p:cNvPr id="3" name="TextBox 2"/>
          <p:cNvSpPr txBox="1"/>
          <p:nvPr/>
        </p:nvSpPr>
        <p:spPr>
          <a:xfrm>
            <a:off x="550469" y="5775158"/>
            <a:ext cx="29338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 smtClean="0"/>
              <a:t>Sebelum</a:t>
            </a:r>
            <a:r>
              <a:rPr lang="en-US" sz="2800" dirty="0" smtClean="0"/>
              <a:t> 2014</a:t>
            </a:r>
            <a:endParaRPr lang="en-US" sz="2800" dirty="0"/>
          </a:p>
        </p:txBody>
      </p:sp>
      <p:sp>
        <p:nvSpPr>
          <p:cNvPr id="9" name="TextBox 8"/>
          <p:cNvSpPr txBox="1"/>
          <p:nvPr/>
        </p:nvSpPr>
        <p:spPr>
          <a:xfrm>
            <a:off x="4919369" y="5715808"/>
            <a:ext cx="29338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2014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xmlns="" val="3230195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224118" y="887506"/>
            <a:ext cx="35052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2800" dirty="0" smtClean="0">
                <a:solidFill>
                  <a:schemeClr val="accent2"/>
                </a:solidFill>
                <a:latin typeface="Calibri" pitchFamily="34" charset="0"/>
              </a:rPr>
              <a:t>PAPER-BASED TEST</a:t>
            </a:r>
            <a:endParaRPr lang="en-US" sz="2800" dirty="0">
              <a:solidFill>
                <a:schemeClr val="accent2"/>
              </a:solidFill>
              <a:latin typeface="Calibri" pitchFamily="34" charset="0"/>
            </a:endParaRPr>
          </a:p>
        </p:txBody>
      </p:sp>
      <p:pic>
        <p:nvPicPr>
          <p:cNvPr id="5" name="Picture 2" descr="http://setkab.go.id/media/article/images/2013/07/20/t/e/tes_cpns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5019" r="23029"/>
          <a:stretch/>
        </p:blipFill>
        <p:spPr bwMode="auto">
          <a:xfrm>
            <a:off x="322729" y="1627094"/>
            <a:ext cx="4034118" cy="3255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http://www.bkn.go.id/kanreg07/images/stories/cat_me_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68215" y="1627093"/>
            <a:ext cx="4093569" cy="3240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7021347" y="4460927"/>
            <a:ext cx="1524000" cy="307975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id-ID" sz="1400" dirty="0">
                <a:latin typeface="+mn-lt"/>
                <a:cs typeface="+mn-cs"/>
              </a:rPr>
              <a:t>Muara Enim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827493" y="574054"/>
            <a:ext cx="3940197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2400" dirty="0" smtClean="0">
                <a:solidFill>
                  <a:schemeClr val="accent3"/>
                </a:solidFill>
              </a:rPr>
              <a:t>COMPUTER </a:t>
            </a:r>
          </a:p>
          <a:p>
            <a:pPr algn="r">
              <a:defRPr/>
            </a:pPr>
            <a:r>
              <a:rPr lang="en-US" sz="2400" dirty="0" smtClean="0">
                <a:solidFill>
                  <a:schemeClr val="accent3"/>
                </a:solidFill>
              </a:rPr>
              <a:t>ASSISTED TEST (CAT)</a:t>
            </a:r>
            <a:endParaRPr lang="id-ID" sz="2400" dirty="0">
              <a:solidFill>
                <a:schemeClr val="accent3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4450811" y="700062"/>
            <a:ext cx="967" cy="510988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109230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7" name="Picture 13" descr="IMG_00000582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1136" r="15476" b="1831"/>
          <a:stretch/>
        </p:blipFill>
        <p:spPr bwMode="auto">
          <a:xfrm>
            <a:off x="322077" y="1658083"/>
            <a:ext cx="4128899" cy="369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8" name="TextBox 5"/>
          <p:cNvSpPr txBox="1">
            <a:spLocks noChangeArrowheads="1"/>
          </p:cNvSpPr>
          <p:nvPr/>
        </p:nvSpPr>
        <p:spPr bwMode="auto">
          <a:xfrm>
            <a:off x="322076" y="5526740"/>
            <a:ext cx="387340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r>
              <a:rPr lang="en-US" sz="2000" dirty="0" smtClean="0"/>
              <a:t>AROUND 1.381.343 APPLICANT ANSWER SHEETS</a:t>
            </a:r>
            <a:endParaRPr lang="en-US" sz="2000" dirty="0"/>
          </a:p>
        </p:txBody>
      </p:sp>
      <p:sp>
        <p:nvSpPr>
          <p:cNvPr id="36869" name="TextBox 6"/>
          <p:cNvSpPr txBox="1">
            <a:spLocks noChangeArrowheads="1"/>
          </p:cNvSpPr>
          <p:nvPr/>
        </p:nvSpPr>
        <p:spPr bwMode="auto">
          <a:xfrm>
            <a:off x="1219200" y="152400"/>
            <a:ext cx="346868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endParaRPr lang="en-US"/>
          </a:p>
        </p:txBody>
      </p:sp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322076" y="614363"/>
            <a:ext cx="350520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2800" dirty="0" smtClean="0">
                <a:solidFill>
                  <a:schemeClr val="accent2"/>
                </a:solidFill>
                <a:latin typeface="Calibri" pitchFamily="34" charset="0"/>
              </a:rPr>
              <a:t>PAPER-BASED TEST</a:t>
            </a:r>
          </a:p>
          <a:p>
            <a:pPr eaLnBrk="1" hangingPunct="1"/>
            <a:r>
              <a:rPr lang="en-US" sz="2800" dirty="0" smtClean="0">
                <a:solidFill>
                  <a:schemeClr val="accent2"/>
                </a:solidFill>
                <a:latin typeface="Calibri" pitchFamily="34" charset="0"/>
              </a:rPr>
              <a:t>RESULT HANDLING</a:t>
            </a:r>
            <a:endParaRPr lang="en-US" sz="2800" dirty="0">
              <a:solidFill>
                <a:schemeClr val="accent2"/>
              </a:solidFill>
              <a:latin typeface="Calibri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4774"/>
          <a:stretch/>
        </p:blipFill>
        <p:spPr>
          <a:xfrm>
            <a:off x="4827059" y="1658083"/>
            <a:ext cx="4177407" cy="370395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204012" y="332656"/>
            <a:ext cx="3800454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2400" dirty="0" smtClean="0">
                <a:solidFill>
                  <a:schemeClr val="accent3"/>
                </a:solidFill>
              </a:rPr>
              <a:t>COMPUTER ASSISTED TEST (CAT)-THE RESULT</a:t>
            </a:r>
            <a:endParaRPr lang="id-ID" sz="2400" dirty="0">
              <a:solidFill>
                <a:schemeClr val="accent3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4638534" y="713509"/>
            <a:ext cx="968" cy="572763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6895555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>
            <a:spLocks noGrp="1"/>
          </p:cNvSpPr>
          <p:nvPr>
            <p:ph type="title" idx="4294967295"/>
          </p:nvPr>
        </p:nvSpPr>
        <p:spPr>
          <a:xfrm>
            <a:off x="534521" y="532974"/>
            <a:ext cx="7668184" cy="576167"/>
          </a:xfrm>
        </p:spPr>
        <p:txBody>
          <a:bodyPr>
            <a:noAutofit/>
          </a:bodyPr>
          <a:lstStyle/>
          <a:p>
            <a:r>
              <a:rPr lang="en-US" sz="3200" dirty="0" err="1" smtClean="0">
                <a:latin typeface="+mn-lt"/>
              </a:rPr>
              <a:t>Seleksi</a:t>
            </a:r>
            <a:r>
              <a:rPr lang="en-US" sz="3200" dirty="0" smtClean="0">
                <a:latin typeface="+mn-lt"/>
              </a:rPr>
              <a:t> Terbuka JPT</a:t>
            </a:r>
            <a:endParaRPr lang="en-US" sz="3200" dirty="0"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91671" y="1156446"/>
            <a:ext cx="8003971" cy="5316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874247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915816" y="5220489"/>
            <a:ext cx="54726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dirty="0" smtClean="0"/>
              <a:t>TERIMA KASIH</a:t>
            </a:r>
          </a:p>
          <a:p>
            <a:pPr algn="r"/>
            <a:r>
              <a:rPr lang="en-US" sz="3200" dirty="0" smtClean="0"/>
              <a:t>adi.junjunan@menpan.go.id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xmlns="" val="522574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" b="31314"/>
          <a:stretch/>
        </p:blipFill>
        <p:spPr>
          <a:xfrm>
            <a:off x="1115616" y="573460"/>
            <a:ext cx="6945616" cy="242349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15616" y="3176564"/>
            <a:ext cx="6945616" cy="3348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3860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770" y="332656"/>
            <a:ext cx="9022460" cy="619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59282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79512" y="1772816"/>
            <a:ext cx="8194014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3" cstate="email"/>
          <a:srcRect r="19537"/>
          <a:stretch>
            <a:fillRect/>
          </a:stretch>
        </p:blipFill>
        <p:spPr bwMode="auto">
          <a:xfrm>
            <a:off x="251520" y="188640"/>
            <a:ext cx="4108851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Box 14"/>
          <p:cNvSpPr txBox="1"/>
          <p:nvPr/>
        </p:nvSpPr>
        <p:spPr>
          <a:xfrm>
            <a:off x="7668344" y="1852662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600" b="1" dirty="0" smtClean="0">
                <a:solidFill>
                  <a:schemeClr val="tx2"/>
                </a:solidFill>
                <a:latin typeface="Arial Narrow" pitchFamily="34" charset="0"/>
              </a:rPr>
              <a:t>2008-2009</a:t>
            </a:r>
            <a:endParaRPr lang="id-ID" sz="1600" b="1" dirty="0">
              <a:solidFill>
                <a:schemeClr val="tx2"/>
              </a:solidFill>
              <a:latin typeface="Arial Narrow" pitchFamily="34" charset="0"/>
            </a:endParaRPr>
          </a:p>
        </p:txBody>
      </p:sp>
      <p:grpSp>
        <p:nvGrpSpPr>
          <p:cNvPr id="2" name="Group 18"/>
          <p:cNvGrpSpPr/>
          <p:nvPr/>
        </p:nvGrpSpPr>
        <p:grpSpPr>
          <a:xfrm>
            <a:off x="193160" y="2124148"/>
            <a:ext cx="7619200" cy="4644516"/>
            <a:chOff x="309880" y="2124148"/>
            <a:chExt cx="7619200" cy="4644516"/>
          </a:xfrm>
        </p:grpSpPr>
        <p:grpSp>
          <p:nvGrpSpPr>
            <p:cNvPr id="3" name="Group 17"/>
            <p:cNvGrpSpPr/>
            <p:nvPr/>
          </p:nvGrpSpPr>
          <p:grpSpPr>
            <a:xfrm>
              <a:off x="309880" y="2124148"/>
              <a:ext cx="7444120" cy="4644516"/>
              <a:chOff x="309880" y="2124148"/>
              <a:chExt cx="7444120" cy="4644516"/>
            </a:xfrm>
          </p:grpSpPr>
          <p:pic>
            <p:nvPicPr>
              <p:cNvPr id="16" name="Picture 3"/>
              <p:cNvPicPr>
                <a:picLocks noChangeAspect="1" noChangeArrowheads="1"/>
              </p:cNvPicPr>
              <p:nvPr/>
            </p:nvPicPr>
            <p:blipFill>
              <a:blip r:embed="rId4" cstate="email"/>
              <a:srcRect/>
              <a:stretch>
                <a:fillRect/>
              </a:stretch>
            </p:blipFill>
            <p:spPr bwMode="auto">
              <a:xfrm>
                <a:off x="309880" y="2124148"/>
                <a:ext cx="3096344" cy="46445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" name="Picture 3"/>
              <p:cNvPicPr>
                <a:picLocks noChangeAspect="1" noChangeArrowheads="1"/>
              </p:cNvPicPr>
              <p:nvPr/>
            </p:nvPicPr>
            <p:blipFill>
              <a:blip r:embed="rId5" cstate="email"/>
              <a:srcRect/>
              <a:stretch>
                <a:fillRect/>
              </a:stretch>
            </p:blipFill>
            <p:spPr bwMode="auto">
              <a:xfrm>
                <a:off x="3217496" y="2132856"/>
                <a:ext cx="4536504" cy="46296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9" name="TextBox 8"/>
            <p:cNvSpPr txBox="1"/>
            <p:nvPr/>
          </p:nvSpPr>
          <p:spPr>
            <a:xfrm>
              <a:off x="7353016" y="5836328"/>
              <a:ext cx="57606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id-ID" dirty="0"/>
            </a:p>
          </p:txBody>
        </p:sp>
      </p:grpSp>
      <p:sp>
        <p:nvSpPr>
          <p:cNvPr id="10" name="Rectangle 9"/>
          <p:cNvSpPr/>
          <p:nvPr/>
        </p:nvSpPr>
        <p:spPr>
          <a:xfrm>
            <a:off x="271280" y="2208632"/>
            <a:ext cx="7109032" cy="50405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0" name="TextBox 19"/>
          <p:cNvSpPr txBox="1"/>
          <p:nvPr/>
        </p:nvSpPr>
        <p:spPr>
          <a:xfrm>
            <a:off x="8100392" y="2167990"/>
            <a:ext cx="5760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600" b="1" dirty="0" smtClean="0"/>
              <a:t>10.7</a:t>
            </a:r>
            <a:endParaRPr lang="id-ID" sz="16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8100392" y="2417120"/>
            <a:ext cx="5760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600" b="1" dirty="0" smtClean="0"/>
              <a:t>19.3</a:t>
            </a:r>
            <a:endParaRPr lang="id-ID" sz="16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5148064" y="4437112"/>
            <a:ext cx="3744416" cy="95410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id-ID" sz="2000" b="1" dirty="0" smtClean="0"/>
              <a:t>DARI 2008-2009 ke 2013-2014</a:t>
            </a:r>
          </a:p>
          <a:p>
            <a:r>
              <a:rPr lang="id-ID" dirty="0" smtClean="0"/>
              <a:t>- KORUPSI </a:t>
            </a:r>
            <a:r>
              <a:rPr lang="id-ID" dirty="0" smtClean="0">
                <a:sym typeface="Symbol"/>
              </a:rPr>
              <a:t>MEMBURUK</a:t>
            </a:r>
          </a:p>
          <a:p>
            <a:r>
              <a:rPr lang="id-ID" dirty="0" smtClean="0">
                <a:sym typeface="Symbol"/>
              </a:rPr>
              <a:t>- KINERJA BIROKRASI MEMBAIK</a:t>
            </a:r>
            <a:endParaRPr lang="id-ID" dirty="0"/>
          </a:p>
        </p:txBody>
      </p:sp>
      <p:sp>
        <p:nvSpPr>
          <p:cNvPr id="23" name="Rectangle 22"/>
          <p:cNvSpPr/>
          <p:nvPr/>
        </p:nvSpPr>
        <p:spPr>
          <a:xfrm>
            <a:off x="266034" y="5675762"/>
            <a:ext cx="7109032" cy="25202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36825395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724128" y="6433591"/>
            <a:ext cx="31073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d-ID" sz="1400" dirty="0"/>
              <a:t>http://www.doingbusiness.org/ranking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40238"/>
          <a:stretch/>
        </p:blipFill>
        <p:spPr>
          <a:xfrm>
            <a:off x="0" y="1556792"/>
            <a:ext cx="9144000" cy="223632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08" y="256064"/>
            <a:ext cx="5326380" cy="8686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4174864"/>
            <a:ext cx="9144000" cy="206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48382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2" descr="http://www.investphilippines.info/arangkada/wp-content/uploads/2011/06/Part4-F152.jp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251520" y="1556792"/>
            <a:ext cx="8553450" cy="5048250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467544" y="838453"/>
            <a:ext cx="83529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d-ID" sz="3600" b="1" dirty="0" smtClean="0"/>
              <a:t>EFISIENSI BIROKRASI DI INDONESIA</a:t>
            </a:r>
          </a:p>
        </p:txBody>
      </p:sp>
      <p:sp>
        <p:nvSpPr>
          <p:cNvPr id="6" name="Rectangle 5"/>
          <p:cNvSpPr/>
          <p:nvPr/>
        </p:nvSpPr>
        <p:spPr>
          <a:xfrm>
            <a:off x="611560" y="4869160"/>
            <a:ext cx="7920880" cy="2880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7" name="Rectangle 6"/>
          <p:cNvSpPr/>
          <p:nvPr/>
        </p:nvSpPr>
        <p:spPr>
          <a:xfrm>
            <a:off x="3433727" y="6103090"/>
            <a:ext cx="692370" cy="315742"/>
          </a:xfrm>
          <a:prstGeom prst="rect">
            <a:avLst/>
          </a:prstGeom>
          <a:solidFill>
            <a:srgbClr val="FF0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9" name="Rectangle 8"/>
          <p:cNvSpPr/>
          <p:nvPr/>
        </p:nvSpPr>
        <p:spPr>
          <a:xfrm>
            <a:off x="2947532" y="6101922"/>
            <a:ext cx="432048" cy="317751"/>
          </a:xfrm>
          <a:prstGeom prst="rect">
            <a:avLst/>
          </a:prstGeom>
          <a:solidFill>
            <a:srgbClr val="FFC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" name="TextBox 9"/>
          <p:cNvSpPr txBox="1"/>
          <p:nvPr/>
        </p:nvSpPr>
        <p:spPr>
          <a:xfrm>
            <a:off x="467544" y="375047"/>
            <a:ext cx="84249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400" dirty="0" smtClean="0"/>
              <a:t>SALAH SATU PENILAIAN KINERJA BIROKRASI</a:t>
            </a:r>
            <a:endParaRPr lang="id-ID" sz="2400" dirty="0"/>
          </a:p>
        </p:txBody>
      </p:sp>
      <p:sp>
        <p:nvSpPr>
          <p:cNvPr id="8" name="Rectangle 7"/>
          <p:cNvSpPr/>
          <p:nvPr/>
        </p:nvSpPr>
        <p:spPr>
          <a:xfrm>
            <a:off x="513048" y="6392361"/>
            <a:ext cx="3441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d-ID" sz="1200" b="1" dirty="0" smtClean="0">
                <a:latin typeface="Times New Roman" pitchFamily="18" charset="0"/>
                <a:cs typeface="Times New Roman" pitchFamily="18" charset="0"/>
              </a:rPr>
              <a:t>PERC: </a:t>
            </a:r>
            <a:r>
              <a:rPr lang="en-US" sz="1200" b="1" dirty="0" smtClean="0">
                <a:latin typeface="Times New Roman" pitchFamily="18" charset="0"/>
                <a:cs typeface="Times New Roman" pitchFamily="18" charset="0"/>
              </a:rPr>
              <a:t>Political and Economic Risk Consultancy </a:t>
            </a:r>
            <a:endParaRPr lang="id-ID" sz="12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447413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2WJlSTskCwSMvBtE2ZK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cutive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17</TotalTime>
  <Words>1936</Words>
  <Application>Microsoft Office PowerPoint</Application>
  <PresentationFormat>On-screen Show (4:3)</PresentationFormat>
  <Paragraphs>537</Paragraphs>
  <Slides>47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47</vt:i4>
      </vt:variant>
    </vt:vector>
  </HeadingPairs>
  <TitlesOfParts>
    <vt:vector size="49" baseType="lpstr">
      <vt:lpstr>Executive</vt:lpstr>
      <vt:lpstr>Office Theme</vt:lpstr>
      <vt:lpstr>Slide 1</vt:lpstr>
      <vt:lpstr>Slide 2</vt:lpstr>
      <vt:lpstr>TANTANGAN BIROKRASI</vt:lpstr>
      <vt:lpstr>Slide 4</vt:lpstr>
      <vt:lpstr>Slide 5</vt:lpstr>
      <vt:lpstr>Slide 6</vt:lpstr>
      <vt:lpstr>Slide 7</vt:lpstr>
      <vt:lpstr>Slide 8</vt:lpstr>
      <vt:lpstr>Slide 9</vt:lpstr>
      <vt:lpstr>Slide 10</vt:lpstr>
      <vt:lpstr>Sekilas Status PNS</vt:lpstr>
      <vt:lpstr>Slide 12</vt:lpstr>
      <vt:lpstr>Slide 13</vt:lpstr>
      <vt:lpstr>Slide 14</vt:lpstr>
      <vt:lpstr>Slide 15</vt:lpstr>
      <vt:lpstr>Slide 16</vt:lpstr>
      <vt:lpstr>ARAH PENGEMBANGAN ASN (2015-2019)</vt:lpstr>
      <vt:lpstr>Slide 18</vt:lpstr>
      <vt:lpstr>Slide 19</vt:lpstr>
      <vt:lpstr>TRANSFORMASI BIROKRASI &amp;</vt:lpstr>
      <vt:lpstr>FONDASI UU UNTUK REFORMASI BIROKRASI</vt:lpstr>
      <vt:lpstr>Slide 22</vt:lpstr>
      <vt:lpstr>Slide 23</vt:lpstr>
      <vt:lpstr>KEBIJAKAN TENTANG ASN</vt:lpstr>
      <vt:lpstr>Slide 25</vt:lpstr>
      <vt:lpstr>TUJUAN UTAMA UU ASN</vt:lpstr>
      <vt:lpstr>PRINSIP DASAR UU ASN</vt:lpstr>
      <vt:lpstr>Slide 28</vt:lpstr>
      <vt:lpstr>Peran Jabatan Fungsional</vt:lpstr>
      <vt:lpstr>Kriteria Penetapan JF</vt:lpstr>
      <vt:lpstr>Slide 31</vt:lpstr>
      <vt:lpstr>Slide 32</vt:lpstr>
      <vt:lpstr>Slide 33</vt:lpstr>
      <vt:lpstr>Slide 34</vt:lpstr>
      <vt:lpstr>Slide 35</vt:lpstr>
      <vt:lpstr>Slide 36</vt:lpstr>
      <vt:lpstr>Slide 37</vt:lpstr>
      <vt:lpstr>ORGANISASI ASN</vt:lpstr>
      <vt:lpstr>SISTEM INFORMASI ASN</vt:lpstr>
      <vt:lpstr>Slide 40</vt:lpstr>
      <vt:lpstr>Slide 41</vt:lpstr>
      <vt:lpstr>Slide 42</vt:lpstr>
      <vt:lpstr>Slide 43</vt:lpstr>
      <vt:lpstr>Slide 44</vt:lpstr>
      <vt:lpstr>Slide 45</vt:lpstr>
      <vt:lpstr>Seleksi Terbuka JPT</vt:lpstr>
      <vt:lpstr>Slide 47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putisdma</dc:creator>
  <cp:lastModifiedBy>mutasi</cp:lastModifiedBy>
  <cp:revision>146</cp:revision>
  <cp:lastPrinted>2016-07-28T04:45:17Z</cp:lastPrinted>
  <dcterms:created xsi:type="dcterms:W3CDTF">2013-09-23T06:54:30Z</dcterms:created>
  <dcterms:modified xsi:type="dcterms:W3CDTF">2016-10-26T05:10:45Z</dcterms:modified>
</cp:coreProperties>
</file>